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9" r:id="rId10"/>
    <p:sldMasterId id="2147483810" r:id="rId11"/>
  </p:sldMasterIdLst>
  <p:notesMasterIdLst>
    <p:notesMasterId r:id="rId66"/>
  </p:notesMasterIdLst>
  <p:handoutMasterIdLst>
    <p:handoutMasterId r:id="rId67"/>
  </p:handoutMasterIdLst>
  <p:sldIdLst>
    <p:sldId id="260" r:id="rId12"/>
    <p:sldId id="258" r:id="rId13"/>
    <p:sldId id="562" r:id="rId14"/>
    <p:sldId id="561" r:id="rId15"/>
    <p:sldId id="534" r:id="rId16"/>
    <p:sldId id="624" r:id="rId17"/>
    <p:sldId id="581" r:id="rId18"/>
    <p:sldId id="1477" r:id="rId19"/>
    <p:sldId id="617" r:id="rId20"/>
    <p:sldId id="618" r:id="rId21"/>
    <p:sldId id="620" r:id="rId22"/>
    <p:sldId id="615" r:id="rId23"/>
    <p:sldId id="614" r:id="rId24"/>
    <p:sldId id="613" r:id="rId25"/>
    <p:sldId id="625" r:id="rId26"/>
    <p:sldId id="582" r:id="rId27"/>
    <p:sldId id="653" r:id="rId28"/>
    <p:sldId id="1676" r:id="rId29"/>
    <p:sldId id="531" r:id="rId30"/>
    <p:sldId id="560" r:id="rId31"/>
    <p:sldId id="563" r:id="rId32"/>
    <p:sldId id="564" r:id="rId33"/>
    <p:sldId id="1508" r:id="rId34"/>
    <p:sldId id="1638" r:id="rId35"/>
    <p:sldId id="2103813177" r:id="rId36"/>
    <p:sldId id="1621" r:id="rId37"/>
    <p:sldId id="1649" r:id="rId38"/>
    <p:sldId id="1641" r:id="rId39"/>
    <p:sldId id="1642" r:id="rId40"/>
    <p:sldId id="1643" r:id="rId41"/>
    <p:sldId id="1646" r:id="rId42"/>
    <p:sldId id="1645" r:id="rId43"/>
    <p:sldId id="1648" r:id="rId44"/>
    <p:sldId id="1651" r:id="rId45"/>
    <p:sldId id="1650" r:id="rId46"/>
    <p:sldId id="1652" r:id="rId47"/>
    <p:sldId id="1653" r:id="rId48"/>
    <p:sldId id="2103813178" r:id="rId49"/>
    <p:sldId id="1611" r:id="rId50"/>
    <p:sldId id="1654" r:id="rId51"/>
    <p:sldId id="1655" r:id="rId52"/>
    <p:sldId id="1656" r:id="rId53"/>
    <p:sldId id="1657" r:id="rId54"/>
    <p:sldId id="1659" r:id="rId55"/>
    <p:sldId id="1658" r:id="rId56"/>
    <p:sldId id="1660" r:id="rId57"/>
    <p:sldId id="1537" r:id="rId58"/>
    <p:sldId id="1538" r:id="rId59"/>
    <p:sldId id="1663" r:id="rId60"/>
    <p:sldId id="2103813184" r:id="rId61"/>
    <p:sldId id="645" r:id="rId62"/>
    <p:sldId id="576" r:id="rId63"/>
    <p:sldId id="577" r:id="rId64"/>
    <p:sldId id="259" r:id="rId65"/>
  </p:sldIdLst>
  <p:sldSz cx="12192000" cy="6858000"/>
  <p:notesSz cx="6858000" cy="1666875"/>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SQL Server Plan Cache" id="{25ADF4C8-2200-4410-9F45-B05F5BA6D4E6}">
          <p14:sldIdLst>
            <p14:sldId id="561"/>
            <p14:sldId id="534"/>
            <p14:sldId id="624"/>
            <p14:sldId id="581"/>
            <p14:sldId id="1477"/>
            <p14:sldId id="617"/>
            <p14:sldId id="618"/>
            <p14:sldId id="620"/>
            <p14:sldId id="615"/>
            <p14:sldId id="614"/>
            <p14:sldId id="613"/>
            <p14:sldId id="625"/>
            <p14:sldId id="582"/>
            <p14:sldId id="653"/>
            <p14:sldId id="1676"/>
            <p14:sldId id="531"/>
            <p14:sldId id="560"/>
            <p14:sldId id="563"/>
          </p14:sldIdLst>
        </p14:section>
        <p14:section name="Lesson 2: SQL Server Query Store" id="{6F639A05-2893-48A9-A600-6681E43668C4}">
          <p14:sldIdLst>
            <p14:sldId id="564"/>
            <p14:sldId id="1508"/>
            <p14:sldId id="1638"/>
            <p14:sldId id="2103813177"/>
            <p14:sldId id="1621"/>
            <p14:sldId id="1649"/>
            <p14:sldId id="1641"/>
            <p14:sldId id="1642"/>
            <p14:sldId id="1643"/>
            <p14:sldId id="1646"/>
            <p14:sldId id="1645"/>
            <p14:sldId id="1648"/>
            <p14:sldId id="1651"/>
            <p14:sldId id="1650"/>
            <p14:sldId id="1652"/>
            <p14:sldId id="1653"/>
            <p14:sldId id="2103813178"/>
            <p14:sldId id="1611"/>
            <p14:sldId id="1654"/>
            <p14:sldId id="1655"/>
            <p14:sldId id="1656"/>
            <p14:sldId id="1657"/>
            <p14:sldId id="1659"/>
            <p14:sldId id="1658"/>
            <p14:sldId id="1660"/>
            <p14:sldId id="1537"/>
            <p14:sldId id="1538"/>
            <p14:sldId id="1663"/>
            <p14:sldId id="2103813184"/>
            <p14:sldId id="645"/>
            <p14:sldId id="576"/>
            <p14:sldId id="577"/>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DBD1"/>
    <a:srgbClr val="107C10"/>
    <a:srgbClr val="8661C5"/>
    <a:srgbClr val="484BC4"/>
    <a:srgbClr val="356EBE"/>
    <a:srgbClr val="2A97AF"/>
    <a:srgbClr val="20A085"/>
    <a:srgbClr val="178E46"/>
    <a:srgbClr val="008575"/>
    <a:srgbClr val="D0DAF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045081-F125-44DD-B373-463A643458C3}" v="1" dt="2020-06-16T00:24:05.52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09" autoAdjust="0"/>
    <p:restoredTop sz="84025" autoAdjust="0"/>
  </p:normalViewPr>
  <p:slideViewPr>
    <p:cSldViewPr snapToGrid="0">
      <p:cViewPr varScale="1">
        <p:scale>
          <a:sx n="58" d="100"/>
          <a:sy n="58" d="100"/>
        </p:scale>
        <p:origin x="708" y="4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2.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notesMaster" Target="notesMasters/notesMaster1.xml"/><Relationship Id="rId74" Type="http://schemas.microsoft.com/office/2016/11/relationships/changesInfo" Target="changesInfos/changesInfo1.xml"/><Relationship Id="rId5" Type="http://schemas.openxmlformats.org/officeDocument/2006/relationships/customXml" Target="../customXml/item5.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40.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handoutMaster" Target="handoutMasters/handoutMaster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1.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customXml" Target="../customXml/item7.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 Mesel" userId="1ee7badb-5d1f-4872-89ae-dcf7b71f276a" providerId="ADAL" clId="{F7C5C94B-DA99-4F8F-8920-B24493331AC1}"/>
    <pc:docChg chg="undo custSel addSld delSld modSld sldOrd modSection">
      <pc:chgData name="Sam Mesel" userId="1ee7badb-5d1f-4872-89ae-dcf7b71f276a" providerId="ADAL" clId="{F7C5C94B-DA99-4F8F-8920-B24493331AC1}" dt="2020-03-20T19:28:40.540" v="2367" actId="108"/>
      <pc:docMkLst>
        <pc:docMk/>
      </pc:docMkLst>
      <pc:sldChg chg="modNotesTx">
        <pc:chgData name="Sam Mesel" userId="1ee7badb-5d1f-4872-89ae-dcf7b71f276a" providerId="ADAL" clId="{F7C5C94B-DA99-4F8F-8920-B24493331AC1}" dt="2020-03-17T21:59:13.261" v="2268" actId="6549"/>
        <pc:sldMkLst>
          <pc:docMk/>
          <pc:sldMk cId="4267675391" sldId="531"/>
        </pc:sldMkLst>
      </pc:sldChg>
      <pc:sldChg chg="modSp modNotesTx">
        <pc:chgData name="Sam Mesel" userId="1ee7badb-5d1f-4872-89ae-dcf7b71f276a" providerId="ADAL" clId="{F7C5C94B-DA99-4F8F-8920-B24493331AC1}" dt="2020-03-07T22:55:51.773" v="1072" actId="6549"/>
        <pc:sldMkLst>
          <pc:docMk/>
          <pc:sldMk cId="3735096506" sldId="563"/>
        </pc:sldMkLst>
        <pc:graphicFrameChg chg="mod">
          <ac:chgData name="Sam Mesel" userId="1ee7badb-5d1f-4872-89ae-dcf7b71f276a" providerId="ADAL" clId="{F7C5C94B-DA99-4F8F-8920-B24493331AC1}" dt="2020-03-07T22:55:44.976" v="1071" actId="20577"/>
          <ac:graphicFrameMkLst>
            <pc:docMk/>
            <pc:sldMk cId="3735096506" sldId="563"/>
            <ac:graphicFrameMk id="3" creationId="{9484E1FE-7534-495E-863C-657A46F5E628}"/>
          </ac:graphicFrameMkLst>
        </pc:graphicFrameChg>
      </pc:sldChg>
      <pc:sldChg chg="addSp delSp modSp mod modNotesTx">
        <pc:chgData name="Sam Mesel" userId="1ee7badb-5d1f-4872-89ae-dcf7b71f276a" providerId="ADAL" clId="{F7C5C94B-DA99-4F8F-8920-B24493331AC1}" dt="2020-03-17T22:02:53.406" v="2308" actId="6549"/>
        <pc:sldMkLst>
          <pc:docMk/>
          <pc:sldMk cId="670385602" sldId="567"/>
        </pc:sldMkLst>
        <pc:picChg chg="add del mod">
          <ac:chgData name="Sam Mesel" userId="1ee7badb-5d1f-4872-89ae-dcf7b71f276a" providerId="ADAL" clId="{F7C5C94B-DA99-4F8F-8920-B24493331AC1}" dt="2020-03-07T23:17:16.936" v="1112" actId="478"/>
          <ac:picMkLst>
            <pc:docMk/>
            <pc:sldMk cId="670385602" sldId="567"/>
            <ac:picMk id="2" creationId="{8B8A11C7-B755-4285-BDD8-47D14C33151B}"/>
          </ac:picMkLst>
        </pc:picChg>
        <pc:picChg chg="add del mod">
          <ac:chgData name="Sam Mesel" userId="1ee7badb-5d1f-4872-89ae-dcf7b71f276a" providerId="ADAL" clId="{F7C5C94B-DA99-4F8F-8920-B24493331AC1}" dt="2020-03-07T23:17:15.954" v="1111" actId="478"/>
          <ac:picMkLst>
            <pc:docMk/>
            <pc:sldMk cId="670385602" sldId="567"/>
            <ac:picMk id="4" creationId="{CEE313CF-B934-4E80-AC0E-C2FB5ABACAA9}"/>
          </ac:picMkLst>
        </pc:picChg>
      </pc:sldChg>
      <pc:sldChg chg="modSp mod">
        <pc:chgData name="Sam Mesel" userId="1ee7badb-5d1f-4872-89ae-dcf7b71f276a" providerId="ADAL" clId="{F7C5C94B-DA99-4F8F-8920-B24493331AC1}" dt="2020-03-10T21:37:34.412" v="1921" actId="6549"/>
        <pc:sldMkLst>
          <pc:docMk/>
          <pc:sldMk cId="2314306782" sldId="572"/>
        </pc:sldMkLst>
        <pc:spChg chg="mod">
          <ac:chgData name="Sam Mesel" userId="1ee7badb-5d1f-4872-89ae-dcf7b71f276a" providerId="ADAL" clId="{F7C5C94B-DA99-4F8F-8920-B24493331AC1}" dt="2020-03-10T21:37:34.412" v="1921" actId="6549"/>
          <ac:spMkLst>
            <pc:docMk/>
            <pc:sldMk cId="2314306782" sldId="572"/>
            <ac:spMk id="5" creationId="{55182462-DFDF-4D48-A92C-42FD52821C4E}"/>
          </ac:spMkLst>
        </pc:spChg>
      </pc:sldChg>
      <pc:sldChg chg="modSp modNotesTx">
        <pc:chgData name="Sam Mesel" userId="1ee7badb-5d1f-4872-89ae-dcf7b71f276a" providerId="ADAL" clId="{F7C5C94B-DA99-4F8F-8920-B24493331AC1}" dt="2020-03-10T22:35:21.902" v="2241" actId="113"/>
        <pc:sldMkLst>
          <pc:docMk/>
          <pc:sldMk cId="4206133277" sldId="577"/>
        </pc:sldMkLst>
        <pc:graphicFrameChg chg="mod">
          <ac:chgData name="Sam Mesel" userId="1ee7badb-5d1f-4872-89ae-dcf7b71f276a" providerId="ADAL" clId="{F7C5C94B-DA99-4F8F-8920-B24493331AC1}" dt="2020-03-10T22:34:59.158" v="2235" actId="20577"/>
          <ac:graphicFrameMkLst>
            <pc:docMk/>
            <pc:sldMk cId="4206133277" sldId="577"/>
            <ac:graphicFrameMk id="3" creationId="{9484E1FE-7534-495E-863C-657A46F5E628}"/>
          </ac:graphicFrameMkLst>
        </pc:graphicFrameChg>
      </pc:sldChg>
      <pc:sldChg chg="modSp">
        <pc:chgData name="Sam Mesel" userId="1ee7badb-5d1f-4872-89ae-dcf7b71f276a" providerId="ADAL" clId="{F7C5C94B-DA99-4F8F-8920-B24493331AC1}" dt="2020-03-07T18:01:48.139" v="377" actId="113"/>
        <pc:sldMkLst>
          <pc:docMk/>
          <pc:sldMk cId="1516663082" sldId="581"/>
        </pc:sldMkLst>
        <pc:graphicFrameChg chg="mod">
          <ac:chgData name="Sam Mesel" userId="1ee7badb-5d1f-4872-89ae-dcf7b71f276a" providerId="ADAL" clId="{F7C5C94B-DA99-4F8F-8920-B24493331AC1}" dt="2020-03-07T18:01:48.139" v="377" actId="113"/>
          <ac:graphicFrameMkLst>
            <pc:docMk/>
            <pc:sldMk cId="1516663082" sldId="581"/>
            <ac:graphicFrameMk id="5" creationId="{DBCA296B-3874-45F7-AB56-F74E5DE12643}"/>
          </ac:graphicFrameMkLst>
        </pc:graphicFrameChg>
      </pc:sldChg>
      <pc:sldChg chg="addSp delSp modSp mod delAnim modAnim">
        <pc:chgData name="Sam Mesel" userId="1ee7badb-5d1f-4872-89ae-dcf7b71f276a" providerId="ADAL" clId="{F7C5C94B-DA99-4F8F-8920-B24493331AC1}" dt="2020-03-10T17:52:04.442" v="1645" actId="122"/>
        <pc:sldMkLst>
          <pc:docMk/>
          <pc:sldMk cId="3877797472" sldId="582"/>
        </pc:sldMkLst>
        <pc:graphicFrameChg chg="mod">
          <ac:chgData name="Sam Mesel" userId="1ee7badb-5d1f-4872-89ae-dcf7b71f276a" providerId="ADAL" clId="{F7C5C94B-DA99-4F8F-8920-B24493331AC1}" dt="2020-03-10T17:52:04.442" v="1645" actId="122"/>
          <ac:graphicFrameMkLst>
            <pc:docMk/>
            <pc:sldMk cId="3877797472" sldId="582"/>
            <ac:graphicFrameMk id="6" creationId="{2217EB35-CC23-4C14-A610-AB5118F33063}"/>
          </ac:graphicFrameMkLst>
        </pc:graphicFrameChg>
        <pc:picChg chg="add del">
          <ac:chgData name="Sam Mesel" userId="1ee7badb-5d1f-4872-89ae-dcf7b71f276a" providerId="ADAL" clId="{F7C5C94B-DA99-4F8F-8920-B24493331AC1}" dt="2020-03-07T22:29:28.016" v="834" actId="21"/>
          <ac:picMkLst>
            <pc:docMk/>
            <pc:sldMk cId="3877797472" sldId="582"/>
            <ac:picMk id="7" creationId="{45BC5260-52A5-48BE-9AAC-4939768C5CBA}"/>
          </ac:picMkLst>
        </pc:picChg>
      </pc:sldChg>
      <pc:sldChg chg="del">
        <pc:chgData name="Sam Mesel" userId="1ee7badb-5d1f-4872-89ae-dcf7b71f276a" providerId="ADAL" clId="{F7C5C94B-DA99-4F8F-8920-B24493331AC1}" dt="2020-03-10T18:46:39.405" v="1756" actId="47"/>
        <pc:sldMkLst>
          <pc:docMk/>
          <pc:sldMk cId="524507872" sldId="583"/>
        </pc:sldMkLst>
      </pc:sldChg>
      <pc:sldChg chg="modSp">
        <pc:chgData name="Sam Mesel" userId="1ee7badb-5d1f-4872-89ae-dcf7b71f276a" providerId="ADAL" clId="{F7C5C94B-DA99-4F8F-8920-B24493331AC1}" dt="2020-03-10T18:54:21.412" v="1798" actId="20577"/>
        <pc:sldMkLst>
          <pc:docMk/>
          <pc:sldMk cId="2064303006" sldId="592"/>
        </pc:sldMkLst>
        <pc:graphicFrameChg chg="mod">
          <ac:chgData name="Sam Mesel" userId="1ee7badb-5d1f-4872-89ae-dcf7b71f276a" providerId="ADAL" clId="{F7C5C94B-DA99-4F8F-8920-B24493331AC1}" dt="2020-03-10T18:54:21.412" v="1798" actId="20577"/>
          <ac:graphicFrameMkLst>
            <pc:docMk/>
            <pc:sldMk cId="2064303006" sldId="592"/>
            <ac:graphicFrameMk id="6" creationId="{40F1CCF2-70F1-42A8-8D40-9CE7C0C535D0}"/>
          </ac:graphicFrameMkLst>
        </pc:graphicFrameChg>
      </pc:sldChg>
      <pc:sldChg chg="modSp">
        <pc:chgData name="Sam Mesel" userId="1ee7badb-5d1f-4872-89ae-dcf7b71f276a" providerId="ADAL" clId="{F7C5C94B-DA99-4F8F-8920-B24493331AC1}" dt="2020-03-10T21:30:50.234" v="1913" actId="5793"/>
        <pc:sldMkLst>
          <pc:docMk/>
          <pc:sldMk cId="1218584360" sldId="599"/>
        </pc:sldMkLst>
        <pc:spChg chg="mod">
          <ac:chgData name="Sam Mesel" userId="1ee7badb-5d1f-4872-89ae-dcf7b71f276a" providerId="ADAL" clId="{F7C5C94B-DA99-4F8F-8920-B24493331AC1}" dt="2020-03-10T21:30:50.234" v="1913" actId="5793"/>
          <ac:spMkLst>
            <pc:docMk/>
            <pc:sldMk cId="1218584360" sldId="599"/>
            <ac:spMk id="16" creationId="{2A936519-79EC-4D24-954A-69BB91778B6C}"/>
          </ac:spMkLst>
        </pc:spChg>
      </pc:sldChg>
      <pc:sldChg chg="modSp">
        <pc:chgData name="Sam Mesel" userId="1ee7badb-5d1f-4872-89ae-dcf7b71f276a" providerId="ADAL" clId="{F7C5C94B-DA99-4F8F-8920-B24493331AC1}" dt="2020-03-10T18:56:08.842" v="1800" actId="108"/>
        <pc:sldMkLst>
          <pc:docMk/>
          <pc:sldMk cId="2755635819" sldId="601"/>
        </pc:sldMkLst>
        <pc:graphicFrameChg chg="mod">
          <ac:chgData name="Sam Mesel" userId="1ee7badb-5d1f-4872-89ae-dcf7b71f276a" providerId="ADAL" clId="{F7C5C94B-DA99-4F8F-8920-B24493331AC1}" dt="2020-03-10T18:56:08.842" v="1800" actId="108"/>
          <ac:graphicFrameMkLst>
            <pc:docMk/>
            <pc:sldMk cId="2755635819" sldId="601"/>
            <ac:graphicFrameMk id="3" creationId="{B1177D7A-652A-43DC-9ADD-4C1FD68BD163}"/>
          </ac:graphicFrameMkLst>
        </pc:graphicFrameChg>
      </pc:sldChg>
      <pc:sldChg chg="addSp delSp modSp mod">
        <pc:chgData name="Sam Mesel" userId="1ee7badb-5d1f-4872-89ae-dcf7b71f276a" providerId="ADAL" clId="{F7C5C94B-DA99-4F8F-8920-B24493331AC1}" dt="2020-03-07T23:04:40.104" v="1084" actId="14100"/>
        <pc:sldMkLst>
          <pc:docMk/>
          <pc:sldMk cId="2751078201" sldId="603"/>
        </pc:sldMkLst>
        <pc:spChg chg="mod">
          <ac:chgData name="Sam Mesel" userId="1ee7badb-5d1f-4872-89ae-dcf7b71f276a" providerId="ADAL" clId="{F7C5C94B-DA99-4F8F-8920-B24493331AC1}" dt="2020-03-07T23:02:28.730" v="1079" actId="20577"/>
          <ac:spMkLst>
            <pc:docMk/>
            <pc:sldMk cId="2751078201" sldId="603"/>
            <ac:spMk id="4" creationId="{07077416-0318-4D73-BD9B-0E127A00F5DC}"/>
          </ac:spMkLst>
        </pc:spChg>
        <pc:picChg chg="del">
          <ac:chgData name="Sam Mesel" userId="1ee7badb-5d1f-4872-89ae-dcf7b71f276a" providerId="ADAL" clId="{F7C5C94B-DA99-4F8F-8920-B24493331AC1}" dt="2020-03-07T23:04:27.672" v="1080" actId="478"/>
          <ac:picMkLst>
            <pc:docMk/>
            <pc:sldMk cId="2751078201" sldId="603"/>
            <ac:picMk id="3" creationId="{A5D5B227-A74D-42AC-888D-5FCA176119AB}"/>
          </ac:picMkLst>
        </pc:picChg>
        <pc:picChg chg="add mod">
          <ac:chgData name="Sam Mesel" userId="1ee7badb-5d1f-4872-89ae-dcf7b71f276a" providerId="ADAL" clId="{F7C5C94B-DA99-4F8F-8920-B24493331AC1}" dt="2020-03-07T23:04:40.104" v="1084" actId="14100"/>
          <ac:picMkLst>
            <pc:docMk/>
            <pc:sldMk cId="2751078201" sldId="603"/>
            <ac:picMk id="5" creationId="{D382AE15-EDBB-4EFF-B77B-A98BB57DDDC0}"/>
          </ac:picMkLst>
        </pc:picChg>
      </pc:sldChg>
      <pc:sldChg chg="addSp delSp modSp mod modNotesTx">
        <pc:chgData name="Sam Mesel" userId="1ee7badb-5d1f-4872-89ae-dcf7b71f276a" providerId="ADAL" clId="{F7C5C94B-DA99-4F8F-8920-B24493331AC1}" dt="2020-03-10T21:24:48.418" v="1911" actId="20577"/>
        <pc:sldMkLst>
          <pc:docMk/>
          <pc:sldMk cId="2091928155" sldId="604"/>
        </pc:sldMkLst>
        <pc:spChg chg="mod">
          <ac:chgData name="Sam Mesel" userId="1ee7badb-5d1f-4872-89ae-dcf7b71f276a" providerId="ADAL" clId="{F7C5C94B-DA99-4F8F-8920-B24493331AC1}" dt="2020-03-10T19:48:39.238" v="1804" actId="113"/>
          <ac:spMkLst>
            <pc:docMk/>
            <pc:sldMk cId="2091928155" sldId="604"/>
            <ac:spMk id="3" creationId="{B2E115E0-78C1-4D43-86B4-A3A090803B26}"/>
          </ac:spMkLst>
        </pc:spChg>
        <pc:graphicFrameChg chg="mod">
          <ac:chgData name="Sam Mesel" userId="1ee7badb-5d1f-4872-89ae-dcf7b71f276a" providerId="ADAL" clId="{F7C5C94B-DA99-4F8F-8920-B24493331AC1}" dt="2020-03-10T21:24:48.418" v="1911" actId="20577"/>
          <ac:graphicFrameMkLst>
            <pc:docMk/>
            <pc:sldMk cId="2091928155" sldId="604"/>
            <ac:graphicFrameMk id="4" creationId="{B9667AFB-F08F-4E54-9639-D1DD822E1E1F}"/>
          </ac:graphicFrameMkLst>
        </pc:graphicFrameChg>
        <pc:graphicFrameChg chg="add del mod">
          <ac:chgData name="Sam Mesel" userId="1ee7badb-5d1f-4872-89ae-dcf7b71f276a" providerId="ADAL" clId="{F7C5C94B-DA99-4F8F-8920-B24493331AC1}" dt="2020-03-10T21:22:56.048" v="1851" actId="22"/>
          <ac:graphicFrameMkLst>
            <pc:docMk/>
            <pc:sldMk cId="2091928155" sldId="604"/>
            <ac:graphicFrameMk id="5" creationId="{E92EAAFA-44AE-4CED-A44C-65EEEFD4AA45}"/>
          </ac:graphicFrameMkLst>
        </pc:graphicFrameChg>
      </pc:sldChg>
      <pc:sldChg chg="modSp">
        <pc:chgData name="Sam Mesel" userId="1ee7badb-5d1f-4872-89ae-dcf7b71f276a" providerId="ADAL" clId="{F7C5C94B-DA99-4F8F-8920-B24493331AC1}" dt="2020-03-10T19:56:45.237" v="1838" actId="20577"/>
        <pc:sldMkLst>
          <pc:docMk/>
          <pc:sldMk cId="248324917" sldId="608"/>
        </pc:sldMkLst>
        <pc:graphicFrameChg chg="mod">
          <ac:chgData name="Sam Mesel" userId="1ee7badb-5d1f-4872-89ae-dcf7b71f276a" providerId="ADAL" clId="{F7C5C94B-DA99-4F8F-8920-B24493331AC1}" dt="2020-03-10T19:56:45.237" v="1838" actId="20577"/>
          <ac:graphicFrameMkLst>
            <pc:docMk/>
            <pc:sldMk cId="248324917" sldId="608"/>
            <ac:graphicFrameMk id="4" creationId="{57FD7EE3-F5AB-49D2-8A53-BC428DAF0EDD}"/>
          </ac:graphicFrameMkLst>
        </pc:graphicFrameChg>
      </pc:sldChg>
      <pc:sldChg chg="modSp">
        <pc:chgData name="Sam Mesel" userId="1ee7badb-5d1f-4872-89ae-dcf7b71f276a" providerId="ADAL" clId="{F7C5C94B-DA99-4F8F-8920-B24493331AC1}" dt="2020-03-10T19:57:49.774" v="1840" actId="20577"/>
        <pc:sldMkLst>
          <pc:docMk/>
          <pc:sldMk cId="3223734742" sldId="612"/>
        </pc:sldMkLst>
        <pc:graphicFrameChg chg="mod">
          <ac:chgData name="Sam Mesel" userId="1ee7badb-5d1f-4872-89ae-dcf7b71f276a" providerId="ADAL" clId="{F7C5C94B-DA99-4F8F-8920-B24493331AC1}" dt="2020-03-10T19:57:49.774" v="1840" actId="20577"/>
          <ac:graphicFrameMkLst>
            <pc:docMk/>
            <pc:sldMk cId="3223734742" sldId="612"/>
            <ac:graphicFrameMk id="4" creationId="{D2449322-CC8D-4036-BF00-5CDA9232A445}"/>
          </ac:graphicFrameMkLst>
        </pc:graphicFrameChg>
      </pc:sldChg>
      <pc:sldChg chg="modSp mod modShow">
        <pc:chgData name="Sam Mesel" userId="1ee7badb-5d1f-4872-89ae-dcf7b71f276a" providerId="ADAL" clId="{F7C5C94B-DA99-4F8F-8920-B24493331AC1}" dt="2020-03-10T17:55:51.031" v="1688" actId="20577"/>
        <pc:sldMkLst>
          <pc:docMk/>
          <pc:sldMk cId="4157009367" sldId="613"/>
        </pc:sldMkLst>
        <pc:spChg chg="mod">
          <ac:chgData name="Sam Mesel" userId="1ee7badb-5d1f-4872-89ae-dcf7b71f276a" providerId="ADAL" clId="{F7C5C94B-DA99-4F8F-8920-B24493331AC1}" dt="2020-03-10T17:55:51.031" v="1688" actId="20577"/>
          <ac:spMkLst>
            <pc:docMk/>
            <pc:sldMk cId="4157009367" sldId="613"/>
            <ac:spMk id="3" creationId="{08A51829-F6E4-4F66-8858-C116FB6E2495}"/>
          </ac:spMkLst>
        </pc:spChg>
        <pc:graphicFrameChg chg="mod">
          <ac:chgData name="Sam Mesel" userId="1ee7badb-5d1f-4872-89ae-dcf7b71f276a" providerId="ADAL" clId="{F7C5C94B-DA99-4F8F-8920-B24493331AC1}" dt="2020-03-07T22:15:35.460" v="777"/>
          <ac:graphicFrameMkLst>
            <pc:docMk/>
            <pc:sldMk cId="4157009367" sldId="613"/>
            <ac:graphicFrameMk id="6" creationId="{051A79A1-377C-4C7A-B151-25C9B3668E35}"/>
          </ac:graphicFrameMkLst>
        </pc:graphicFrameChg>
      </pc:sldChg>
      <pc:sldChg chg="addSp modSp mod modAnim">
        <pc:chgData name="Sam Mesel" userId="1ee7badb-5d1f-4872-89ae-dcf7b71f276a" providerId="ADAL" clId="{F7C5C94B-DA99-4F8F-8920-B24493331AC1}" dt="2020-03-07T19:49:27.710" v="719" actId="1076"/>
        <pc:sldMkLst>
          <pc:docMk/>
          <pc:sldMk cId="3612679356" sldId="614"/>
        </pc:sldMkLst>
        <pc:spChg chg="mod">
          <ac:chgData name="Sam Mesel" userId="1ee7badb-5d1f-4872-89ae-dcf7b71f276a" providerId="ADAL" clId="{F7C5C94B-DA99-4F8F-8920-B24493331AC1}" dt="2020-03-07T19:48:45.343" v="716" actId="14100"/>
          <ac:spMkLst>
            <pc:docMk/>
            <pc:sldMk cId="3612679356" sldId="614"/>
            <ac:spMk id="5" creationId="{81092128-01F3-42D3-93C4-DCA71C6446E4}"/>
          </ac:spMkLst>
        </pc:spChg>
        <pc:graphicFrameChg chg="mod">
          <ac:chgData name="Sam Mesel" userId="1ee7badb-5d1f-4872-89ae-dcf7b71f276a" providerId="ADAL" clId="{F7C5C94B-DA99-4F8F-8920-B24493331AC1}" dt="2020-03-07T19:35:42.638" v="692" actId="20577"/>
          <ac:graphicFrameMkLst>
            <pc:docMk/>
            <pc:sldMk cId="3612679356" sldId="614"/>
            <ac:graphicFrameMk id="6" creationId="{59048E88-1954-41B7-8B8B-D2ABDC6142D2}"/>
          </ac:graphicFrameMkLst>
        </pc:graphicFrameChg>
        <pc:picChg chg="add mod">
          <ac:chgData name="Sam Mesel" userId="1ee7badb-5d1f-4872-89ae-dcf7b71f276a" providerId="ADAL" clId="{F7C5C94B-DA99-4F8F-8920-B24493331AC1}" dt="2020-03-07T19:49:25.902" v="718" actId="1076"/>
          <ac:picMkLst>
            <pc:docMk/>
            <pc:sldMk cId="3612679356" sldId="614"/>
            <ac:picMk id="4" creationId="{5A443D6D-629C-44F9-B99E-C243CEF49901}"/>
          </ac:picMkLst>
        </pc:picChg>
        <pc:picChg chg="add mod">
          <ac:chgData name="Sam Mesel" userId="1ee7badb-5d1f-4872-89ae-dcf7b71f276a" providerId="ADAL" clId="{F7C5C94B-DA99-4F8F-8920-B24493331AC1}" dt="2020-03-07T19:49:27.710" v="719" actId="1076"/>
          <ac:picMkLst>
            <pc:docMk/>
            <pc:sldMk cId="3612679356" sldId="614"/>
            <ac:picMk id="7" creationId="{DAE6F2DD-A3F1-4D27-8329-6AA3129F306A}"/>
          </ac:picMkLst>
        </pc:picChg>
      </pc:sldChg>
      <pc:sldChg chg="addSp delSp modSp mod modAnim">
        <pc:chgData name="Sam Mesel" userId="1ee7badb-5d1f-4872-89ae-dcf7b71f276a" providerId="ADAL" clId="{F7C5C94B-DA99-4F8F-8920-B24493331AC1}" dt="2020-03-07T19:31:00.910" v="681" actId="20577"/>
        <pc:sldMkLst>
          <pc:docMk/>
          <pc:sldMk cId="3875725168" sldId="615"/>
        </pc:sldMkLst>
        <pc:spChg chg="mod">
          <ac:chgData name="Sam Mesel" userId="1ee7badb-5d1f-4872-89ae-dcf7b71f276a" providerId="ADAL" clId="{F7C5C94B-DA99-4F8F-8920-B24493331AC1}" dt="2020-03-07T19:31:00.910" v="681" actId="20577"/>
          <ac:spMkLst>
            <pc:docMk/>
            <pc:sldMk cId="3875725168" sldId="615"/>
            <ac:spMk id="2" creationId="{17A8A069-1E02-4EF1-915C-021D16EEB7E0}"/>
          </ac:spMkLst>
        </pc:spChg>
        <pc:spChg chg="add del mod">
          <ac:chgData name="Sam Mesel" userId="1ee7badb-5d1f-4872-89ae-dcf7b71f276a" providerId="ADAL" clId="{F7C5C94B-DA99-4F8F-8920-B24493331AC1}" dt="2020-03-07T19:12:52.307" v="586" actId="478"/>
          <ac:spMkLst>
            <pc:docMk/>
            <pc:sldMk cId="3875725168" sldId="615"/>
            <ac:spMk id="5" creationId="{5853C47C-3934-4849-B994-A893453C0C32}"/>
          </ac:spMkLst>
        </pc:spChg>
        <pc:spChg chg="add del mod">
          <ac:chgData name="Sam Mesel" userId="1ee7badb-5d1f-4872-89ae-dcf7b71f276a" providerId="ADAL" clId="{F7C5C94B-DA99-4F8F-8920-B24493331AC1}" dt="2020-03-07T19:12:14.548" v="580" actId="478"/>
          <ac:spMkLst>
            <pc:docMk/>
            <pc:sldMk cId="3875725168" sldId="615"/>
            <ac:spMk id="6" creationId="{20178E65-0AC7-44A9-9F44-7E7D5A7DDC1D}"/>
          </ac:spMkLst>
        </pc:spChg>
        <pc:spChg chg="mod">
          <ac:chgData name="Sam Mesel" userId="1ee7badb-5d1f-4872-89ae-dcf7b71f276a" providerId="ADAL" clId="{F7C5C94B-DA99-4F8F-8920-B24493331AC1}" dt="2020-03-07T19:17:07.914" v="612" actId="6549"/>
          <ac:spMkLst>
            <pc:docMk/>
            <pc:sldMk cId="3875725168" sldId="615"/>
            <ac:spMk id="7" creationId="{3347287B-EEB8-4B84-ADF1-D7050BAA2A15}"/>
          </ac:spMkLst>
        </pc:spChg>
        <pc:spChg chg="add mod">
          <ac:chgData name="Sam Mesel" userId="1ee7badb-5d1f-4872-89ae-dcf7b71f276a" providerId="ADAL" clId="{F7C5C94B-DA99-4F8F-8920-B24493331AC1}" dt="2020-03-07T19:17:25.310" v="614" actId="14100"/>
          <ac:spMkLst>
            <pc:docMk/>
            <pc:sldMk cId="3875725168" sldId="615"/>
            <ac:spMk id="8" creationId="{A2223810-929A-4CD1-8B83-E2A2F3B9C73C}"/>
          </ac:spMkLst>
        </pc:spChg>
        <pc:picChg chg="add mod">
          <ac:chgData name="Sam Mesel" userId="1ee7badb-5d1f-4872-89ae-dcf7b71f276a" providerId="ADAL" clId="{F7C5C94B-DA99-4F8F-8920-B24493331AC1}" dt="2020-03-07T19:17:30.247" v="615" actId="1076"/>
          <ac:picMkLst>
            <pc:docMk/>
            <pc:sldMk cId="3875725168" sldId="615"/>
            <ac:picMk id="4" creationId="{6F3C3E11-95F5-45C5-B490-A924262C6B18}"/>
          </ac:picMkLst>
        </pc:picChg>
      </pc:sldChg>
      <pc:sldChg chg="addSp delSp modSp mod modAnim modNotesTx">
        <pc:chgData name="Sam Mesel" userId="1ee7badb-5d1f-4872-89ae-dcf7b71f276a" providerId="ADAL" clId="{F7C5C94B-DA99-4F8F-8920-B24493331AC1}" dt="2020-03-18T19:49:40.531" v="2365"/>
        <pc:sldMkLst>
          <pc:docMk/>
          <pc:sldMk cId="1909332055" sldId="616"/>
        </pc:sldMkLst>
        <pc:spChg chg="mod">
          <ac:chgData name="Sam Mesel" userId="1ee7badb-5d1f-4872-89ae-dcf7b71f276a" providerId="ADAL" clId="{F7C5C94B-DA99-4F8F-8920-B24493331AC1}" dt="2020-03-07T19:31:57.075" v="682"/>
          <ac:spMkLst>
            <pc:docMk/>
            <pc:sldMk cId="1909332055" sldId="616"/>
            <ac:spMk id="2" creationId="{CB39135E-E4E6-40F6-906B-F6316EDE43F4}"/>
          </ac:spMkLst>
        </pc:spChg>
        <pc:spChg chg="mod">
          <ac:chgData name="Sam Mesel" userId="1ee7badb-5d1f-4872-89ae-dcf7b71f276a" providerId="ADAL" clId="{F7C5C94B-DA99-4F8F-8920-B24493331AC1}" dt="2020-03-07T19:22:20.947" v="675" actId="1076"/>
          <ac:spMkLst>
            <pc:docMk/>
            <pc:sldMk cId="1909332055" sldId="616"/>
            <ac:spMk id="5" creationId="{64CA118F-FB91-4076-9244-5FA42F93238F}"/>
          </ac:spMkLst>
        </pc:spChg>
        <pc:spChg chg="add mod">
          <ac:chgData name="Sam Mesel" userId="1ee7badb-5d1f-4872-89ae-dcf7b71f276a" providerId="ADAL" clId="{F7C5C94B-DA99-4F8F-8920-B24493331AC1}" dt="2020-03-18T19:46:46.272" v="2357" actId="1076"/>
          <ac:spMkLst>
            <pc:docMk/>
            <pc:sldMk cId="1909332055" sldId="616"/>
            <ac:spMk id="7" creationId="{E22D601B-2497-41FF-AEC1-6C6BEEDC3363}"/>
          </ac:spMkLst>
        </pc:spChg>
        <pc:picChg chg="add del">
          <ac:chgData name="Sam Mesel" userId="1ee7badb-5d1f-4872-89ae-dcf7b71f276a" providerId="ADAL" clId="{F7C5C94B-DA99-4F8F-8920-B24493331AC1}" dt="2020-03-18T19:45:11.426" v="2345" actId="478"/>
          <ac:picMkLst>
            <pc:docMk/>
            <pc:sldMk cId="1909332055" sldId="616"/>
            <ac:picMk id="4" creationId="{6A6665E8-3842-45D5-A3F5-6F31DADD0ECE}"/>
          </ac:picMkLst>
        </pc:picChg>
        <pc:picChg chg="add del">
          <ac:chgData name="Sam Mesel" userId="1ee7badb-5d1f-4872-89ae-dcf7b71f276a" providerId="ADAL" clId="{F7C5C94B-DA99-4F8F-8920-B24493331AC1}" dt="2020-03-18T19:45:31.154" v="2347" actId="478"/>
          <ac:picMkLst>
            <pc:docMk/>
            <pc:sldMk cId="1909332055" sldId="616"/>
            <ac:picMk id="6" creationId="{C8EE41E8-55B4-41FF-9922-625659854908}"/>
          </ac:picMkLst>
        </pc:picChg>
        <pc:picChg chg="add mod">
          <ac:chgData name="Sam Mesel" userId="1ee7badb-5d1f-4872-89ae-dcf7b71f276a" providerId="ADAL" clId="{F7C5C94B-DA99-4F8F-8920-B24493331AC1}" dt="2020-03-18T19:49:25.658" v="2362" actId="1582"/>
          <ac:picMkLst>
            <pc:docMk/>
            <pc:sldMk cId="1909332055" sldId="616"/>
            <ac:picMk id="8" creationId="{DB748B03-557A-4E27-8803-46A7E3DB0476}"/>
          </ac:picMkLst>
        </pc:picChg>
      </pc:sldChg>
      <pc:sldChg chg="modSp modNotesTx">
        <pc:chgData name="Sam Mesel" userId="1ee7badb-5d1f-4872-89ae-dcf7b71f276a" providerId="ADAL" clId="{F7C5C94B-DA99-4F8F-8920-B24493331AC1}" dt="2020-03-10T17:42:27.637" v="1636" actId="6549"/>
        <pc:sldMkLst>
          <pc:docMk/>
          <pc:sldMk cId="793870729" sldId="617"/>
        </pc:sldMkLst>
        <pc:graphicFrameChg chg="mod">
          <ac:chgData name="Sam Mesel" userId="1ee7badb-5d1f-4872-89ae-dcf7b71f276a" providerId="ADAL" clId="{F7C5C94B-DA99-4F8F-8920-B24493331AC1}" dt="2020-03-10T17:40:31.854" v="1556" actId="20577"/>
          <ac:graphicFrameMkLst>
            <pc:docMk/>
            <pc:sldMk cId="793870729" sldId="617"/>
            <ac:graphicFrameMk id="5" creationId="{AEA6DA8A-3FA6-41CB-BD83-973312B2FA9E}"/>
          </ac:graphicFrameMkLst>
        </pc:graphicFrameChg>
      </pc:sldChg>
      <pc:sldChg chg="delSp modSp mod">
        <pc:chgData name="Sam Mesel" userId="1ee7badb-5d1f-4872-89ae-dcf7b71f276a" providerId="ADAL" clId="{F7C5C94B-DA99-4F8F-8920-B24493331AC1}" dt="2020-03-10T17:43:21.178" v="1642" actId="1076"/>
        <pc:sldMkLst>
          <pc:docMk/>
          <pc:sldMk cId="2077511303" sldId="618"/>
        </pc:sldMkLst>
        <pc:spChg chg="mod">
          <ac:chgData name="Sam Mesel" userId="1ee7badb-5d1f-4872-89ae-dcf7b71f276a" providerId="ADAL" clId="{F7C5C94B-DA99-4F8F-8920-B24493331AC1}" dt="2020-03-10T17:43:21.178" v="1642" actId="1076"/>
          <ac:spMkLst>
            <pc:docMk/>
            <pc:sldMk cId="2077511303" sldId="618"/>
            <ac:spMk id="5" creationId="{69B73290-F650-4355-A653-17468CE10FAD}"/>
          </ac:spMkLst>
        </pc:spChg>
        <pc:spChg chg="mod">
          <ac:chgData name="Sam Mesel" userId="1ee7badb-5d1f-4872-89ae-dcf7b71f276a" providerId="ADAL" clId="{F7C5C94B-DA99-4F8F-8920-B24493331AC1}" dt="2020-03-10T17:43:21.178" v="1642" actId="1076"/>
          <ac:spMkLst>
            <pc:docMk/>
            <pc:sldMk cId="2077511303" sldId="618"/>
            <ac:spMk id="6" creationId="{553A92EB-C277-423B-BE0F-7A9BFA432B0B}"/>
          </ac:spMkLst>
        </pc:spChg>
        <pc:spChg chg="mod">
          <ac:chgData name="Sam Mesel" userId="1ee7badb-5d1f-4872-89ae-dcf7b71f276a" providerId="ADAL" clId="{F7C5C94B-DA99-4F8F-8920-B24493331AC1}" dt="2020-03-10T17:43:21.178" v="1642" actId="1076"/>
          <ac:spMkLst>
            <pc:docMk/>
            <pc:sldMk cId="2077511303" sldId="618"/>
            <ac:spMk id="7" creationId="{B1085922-86B0-4E99-B4C0-255ED11E6C2C}"/>
          </ac:spMkLst>
        </pc:spChg>
        <pc:spChg chg="del">
          <ac:chgData name="Sam Mesel" userId="1ee7badb-5d1f-4872-89ae-dcf7b71f276a" providerId="ADAL" clId="{F7C5C94B-DA99-4F8F-8920-B24493331AC1}" dt="2020-03-10T17:42:58.661" v="1637" actId="478"/>
          <ac:spMkLst>
            <pc:docMk/>
            <pc:sldMk cId="2077511303" sldId="618"/>
            <ac:spMk id="8" creationId="{68D54D26-419A-41DD-9B3B-7BDB82817CF9}"/>
          </ac:spMkLst>
        </pc:spChg>
        <pc:spChg chg="mod">
          <ac:chgData name="Sam Mesel" userId="1ee7badb-5d1f-4872-89ae-dcf7b71f276a" providerId="ADAL" clId="{F7C5C94B-DA99-4F8F-8920-B24493331AC1}" dt="2020-03-10T17:43:21.178" v="1642" actId="1076"/>
          <ac:spMkLst>
            <pc:docMk/>
            <pc:sldMk cId="2077511303" sldId="618"/>
            <ac:spMk id="10" creationId="{F3C464DF-700D-4809-B529-1A93FB74381A}"/>
          </ac:spMkLst>
        </pc:spChg>
        <pc:spChg chg="del mod">
          <ac:chgData name="Sam Mesel" userId="1ee7badb-5d1f-4872-89ae-dcf7b71f276a" providerId="ADAL" clId="{F7C5C94B-DA99-4F8F-8920-B24493331AC1}" dt="2020-03-10T17:43:02.099" v="1639" actId="478"/>
          <ac:spMkLst>
            <pc:docMk/>
            <pc:sldMk cId="2077511303" sldId="618"/>
            <ac:spMk id="24" creationId="{DC047AA8-4466-412E-8365-6AB7CD544493}"/>
          </ac:spMkLst>
        </pc:spChg>
        <pc:spChg chg="mod">
          <ac:chgData name="Sam Mesel" userId="1ee7badb-5d1f-4872-89ae-dcf7b71f276a" providerId="ADAL" clId="{F7C5C94B-DA99-4F8F-8920-B24493331AC1}" dt="2020-03-10T17:43:21.178" v="1642" actId="1076"/>
          <ac:spMkLst>
            <pc:docMk/>
            <pc:sldMk cId="2077511303" sldId="618"/>
            <ac:spMk id="25" creationId="{A834C5F4-7343-45AE-A831-1653AC98B2DC}"/>
          </ac:spMkLst>
        </pc:spChg>
        <pc:spChg chg="mod">
          <ac:chgData name="Sam Mesel" userId="1ee7badb-5d1f-4872-89ae-dcf7b71f276a" providerId="ADAL" clId="{F7C5C94B-DA99-4F8F-8920-B24493331AC1}" dt="2020-03-10T17:43:21.178" v="1642" actId="1076"/>
          <ac:spMkLst>
            <pc:docMk/>
            <pc:sldMk cId="2077511303" sldId="618"/>
            <ac:spMk id="38" creationId="{021B8E0D-6A61-4B6F-B06B-B74393601C17}"/>
          </ac:spMkLst>
        </pc:spChg>
        <pc:spChg chg="mod">
          <ac:chgData name="Sam Mesel" userId="1ee7badb-5d1f-4872-89ae-dcf7b71f276a" providerId="ADAL" clId="{F7C5C94B-DA99-4F8F-8920-B24493331AC1}" dt="2020-03-10T17:43:21.178" v="1642" actId="1076"/>
          <ac:spMkLst>
            <pc:docMk/>
            <pc:sldMk cId="2077511303" sldId="618"/>
            <ac:spMk id="43" creationId="{209C18E2-F59B-4654-80C0-22A61F51B0EC}"/>
          </ac:spMkLst>
        </pc:spChg>
        <pc:spChg chg="del">
          <ac:chgData name="Sam Mesel" userId="1ee7badb-5d1f-4872-89ae-dcf7b71f276a" providerId="ADAL" clId="{F7C5C94B-DA99-4F8F-8920-B24493331AC1}" dt="2020-03-10T17:43:04.253" v="1641" actId="478"/>
          <ac:spMkLst>
            <pc:docMk/>
            <pc:sldMk cId="2077511303" sldId="618"/>
            <ac:spMk id="47" creationId="{AA289680-7BCB-42CE-8C5C-2D5CAEE9812A}"/>
          </ac:spMkLst>
        </pc:spChg>
        <pc:cxnChg chg="del mod">
          <ac:chgData name="Sam Mesel" userId="1ee7badb-5d1f-4872-89ae-dcf7b71f276a" providerId="ADAL" clId="{F7C5C94B-DA99-4F8F-8920-B24493331AC1}" dt="2020-03-10T17:43:00.384" v="1638" actId="478"/>
          <ac:cxnSpMkLst>
            <pc:docMk/>
            <pc:sldMk cId="2077511303" sldId="618"/>
            <ac:cxnSpMk id="12" creationId="{9F02D53A-36A5-42BA-8101-924697F51A4E}"/>
          </ac:cxnSpMkLst>
        </pc:cxnChg>
        <pc:cxnChg chg="mod">
          <ac:chgData name="Sam Mesel" userId="1ee7badb-5d1f-4872-89ae-dcf7b71f276a" providerId="ADAL" clId="{F7C5C94B-DA99-4F8F-8920-B24493331AC1}" dt="2020-03-10T17:43:21.178" v="1642" actId="1076"/>
          <ac:cxnSpMkLst>
            <pc:docMk/>
            <pc:sldMk cId="2077511303" sldId="618"/>
            <ac:cxnSpMk id="13" creationId="{B0C09F7F-86C9-450E-B473-3F57068ACE6A}"/>
          </ac:cxnSpMkLst>
        </pc:cxnChg>
        <pc:cxnChg chg="mod">
          <ac:chgData name="Sam Mesel" userId="1ee7badb-5d1f-4872-89ae-dcf7b71f276a" providerId="ADAL" clId="{F7C5C94B-DA99-4F8F-8920-B24493331AC1}" dt="2020-03-10T17:43:21.178" v="1642" actId="1076"/>
          <ac:cxnSpMkLst>
            <pc:docMk/>
            <pc:sldMk cId="2077511303" sldId="618"/>
            <ac:cxnSpMk id="17" creationId="{6F98BEE3-56E8-42C2-8A79-A971C558FF85}"/>
          </ac:cxnSpMkLst>
        </pc:cxnChg>
        <pc:cxnChg chg="mod">
          <ac:chgData name="Sam Mesel" userId="1ee7badb-5d1f-4872-89ae-dcf7b71f276a" providerId="ADAL" clId="{F7C5C94B-DA99-4F8F-8920-B24493331AC1}" dt="2020-03-10T17:43:21.178" v="1642" actId="1076"/>
          <ac:cxnSpMkLst>
            <pc:docMk/>
            <pc:sldMk cId="2077511303" sldId="618"/>
            <ac:cxnSpMk id="21" creationId="{262FF271-BCCD-4328-91F7-DEEEA42DF968}"/>
          </ac:cxnSpMkLst>
        </pc:cxnChg>
        <pc:cxnChg chg="del mod">
          <ac:chgData name="Sam Mesel" userId="1ee7badb-5d1f-4872-89ae-dcf7b71f276a" providerId="ADAL" clId="{F7C5C94B-DA99-4F8F-8920-B24493331AC1}" dt="2020-03-10T17:43:03.278" v="1640" actId="478"/>
          <ac:cxnSpMkLst>
            <pc:docMk/>
            <pc:sldMk cId="2077511303" sldId="618"/>
            <ac:cxnSpMk id="45" creationId="{1820555D-B759-4C96-ACE3-AAB07D2836DA}"/>
          </ac:cxnSpMkLst>
        </pc:cxnChg>
      </pc:sldChg>
      <pc:sldChg chg="modSp">
        <pc:chgData name="Sam Mesel" userId="1ee7badb-5d1f-4872-89ae-dcf7b71f276a" providerId="ADAL" clId="{F7C5C94B-DA99-4F8F-8920-B24493331AC1}" dt="2020-03-17T21:29:50.585" v="2251" actId="20577"/>
        <pc:sldMkLst>
          <pc:docMk/>
          <pc:sldMk cId="2531563089" sldId="620"/>
        </pc:sldMkLst>
        <pc:graphicFrameChg chg="mod">
          <ac:chgData name="Sam Mesel" userId="1ee7badb-5d1f-4872-89ae-dcf7b71f276a" providerId="ADAL" clId="{F7C5C94B-DA99-4F8F-8920-B24493331AC1}" dt="2020-03-17T21:29:50.585" v="2251" actId="20577"/>
          <ac:graphicFrameMkLst>
            <pc:docMk/>
            <pc:sldMk cId="2531563089" sldId="620"/>
            <ac:graphicFrameMk id="6" creationId="{5B8AE85A-49AB-4B7D-B64D-F4C588116D35}"/>
          </ac:graphicFrameMkLst>
        </pc:graphicFrameChg>
      </pc:sldChg>
      <pc:sldChg chg="addSp delSp modSp add mod modAnim">
        <pc:chgData name="Sam Mesel" userId="1ee7badb-5d1f-4872-89ae-dcf7b71f276a" providerId="ADAL" clId="{F7C5C94B-DA99-4F8F-8920-B24493331AC1}" dt="2020-03-10T17:37:28.850" v="1445"/>
        <pc:sldMkLst>
          <pc:docMk/>
          <pc:sldMk cId="3456630159" sldId="624"/>
        </pc:sldMkLst>
        <pc:spChg chg="mod">
          <ac:chgData name="Sam Mesel" userId="1ee7badb-5d1f-4872-89ae-dcf7b71f276a" providerId="ADAL" clId="{F7C5C94B-DA99-4F8F-8920-B24493331AC1}" dt="2020-03-07T17:01:42.986" v="53" actId="20577"/>
          <ac:spMkLst>
            <pc:docMk/>
            <pc:sldMk cId="3456630159" sldId="624"/>
            <ac:spMk id="2" creationId="{EB67312A-9819-43C6-8D84-D9136E6CFFCC}"/>
          </ac:spMkLst>
        </pc:spChg>
        <pc:spChg chg="del">
          <ac:chgData name="Sam Mesel" userId="1ee7badb-5d1f-4872-89ae-dcf7b71f276a" providerId="ADAL" clId="{F7C5C94B-DA99-4F8F-8920-B24493331AC1}" dt="2020-03-07T16:59:08.731" v="1" actId="12084"/>
          <ac:spMkLst>
            <pc:docMk/>
            <pc:sldMk cId="3456630159" sldId="624"/>
            <ac:spMk id="4" creationId="{F3616A99-090F-45E1-9334-58D58B148205}"/>
          </ac:spMkLst>
        </pc:spChg>
        <pc:spChg chg="del">
          <ac:chgData name="Sam Mesel" userId="1ee7badb-5d1f-4872-89ae-dcf7b71f276a" providerId="ADAL" clId="{F7C5C94B-DA99-4F8F-8920-B24493331AC1}" dt="2020-03-10T17:37:28.850" v="1445"/>
          <ac:spMkLst>
            <pc:docMk/>
            <pc:sldMk cId="3456630159" sldId="624"/>
            <ac:spMk id="14" creationId="{AAA39AAE-D977-4CAE-BACA-5E5B12928023}"/>
          </ac:spMkLst>
        </pc:spChg>
        <pc:spChg chg="add mod">
          <ac:chgData name="Sam Mesel" userId="1ee7badb-5d1f-4872-89ae-dcf7b71f276a" providerId="ADAL" clId="{F7C5C94B-DA99-4F8F-8920-B24493331AC1}" dt="2020-03-07T17:13:20.442" v="351" actId="14100"/>
          <ac:spMkLst>
            <pc:docMk/>
            <pc:sldMk cId="3456630159" sldId="624"/>
            <ac:spMk id="15" creationId="{0CE6064C-8A6A-43FA-BC46-EBA10AA599F9}"/>
          </ac:spMkLst>
        </pc:spChg>
        <pc:graphicFrameChg chg="add mod">
          <ac:chgData name="Sam Mesel" userId="1ee7badb-5d1f-4872-89ae-dcf7b71f276a" providerId="ADAL" clId="{F7C5C94B-DA99-4F8F-8920-B24493331AC1}" dt="2020-03-07T17:11:24.753" v="340"/>
          <ac:graphicFrameMkLst>
            <pc:docMk/>
            <pc:sldMk cId="3456630159" sldId="624"/>
            <ac:graphicFrameMk id="12" creationId="{A7202010-A317-457F-B4F7-8BA153FC2640}"/>
          </ac:graphicFrameMkLst>
        </pc:graphicFrameChg>
      </pc:sldChg>
      <pc:sldChg chg="addSp delSp modSp add mod delAnim modAnim modShow modNotesTx">
        <pc:chgData name="Sam Mesel" userId="1ee7badb-5d1f-4872-89ae-dcf7b71f276a" providerId="ADAL" clId="{F7C5C94B-DA99-4F8F-8920-B24493331AC1}" dt="2020-03-17T21:57:32.862" v="2252" actId="729"/>
        <pc:sldMkLst>
          <pc:docMk/>
          <pc:sldMk cId="89027789" sldId="625"/>
        </pc:sldMkLst>
        <pc:graphicFrameChg chg="mod">
          <ac:chgData name="Sam Mesel" userId="1ee7badb-5d1f-4872-89ae-dcf7b71f276a" providerId="ADAL" clId="{F7C5C94B-DA99-4F8F-8920-B24493331AC1}" dt="2020-03-07T22:42:24.868" v="975" actId="20577"/>
          <ac:graphicFrameMkLst>
            <pc:docMk/>
            <pc:sldMk cId="89027789" sldId="625"/>
            <ac:graphicFrameMk id="6" creationId="{051A79A1-377C-4C7A-B151-25C9B3668E35}"/>
          </ac:graphicFrameMkLst>
        </pc:graphicFrameChg>
        <pc:picChg chg="add del mod">
          <ac:chgData name="Sam Mesel" userId="1ee7badb-5d1f-4872-89ae-dcf7b71f276a" providerId="ADAL" clId="{F7C5C94B-DA99-4F8F-8920-B24493331AC1}" dt="2020-03-07T22:19:15.362" v="785" actId="478"/>
          <ac:picMkLst>
            <pc:docMk/>
            <pc:sldMk cId="89027789" sldId="625"/>
            <ac:picMk id="4" creationId="{9BB33F08-3B0D-4D87-8F93-E8EEB10786AB}"/>
          </ac:picMkLst>
        </pc:picChg>
        <pc:picChg chg="add del">
          <ac:chgData name="Sam Mesel" userId="1ee7badb-5d1f-4872-89ae-dcf7b71f276a" providerId="ADAL" clId="{F7C5C94B-DA99-4F8F-8920-B24493331AC1}" dt="2020-03-07T22:21:50.573" v="787" actId="478"/>
          <ac:picMkLst>
            <pc:docMk/>
            <pc:sldMk cId="89027789" sldId="625"/>
            <ac:picMk id="7" creationId="{936030E6-0235-4AF3-AD90-A7FD45BD3DDC}"/>
          </ac:picMkLst>
        </pc:picChg>
        <pc:picChg chg="add del mod">
          <ac:chgData name="Sam Mesel" userId="1ee7badb-5d1f-4872-89ae-dcf7b71f276a" providerId="ADAL" clId="{F7C5C94B-DA99-4F8F-8920-B24493331AC1}" dt="2020-03-07T22:29:11.476" v="832" actId="21"/>
          <ac:picMkLst>
            <pc:docMk/>
            <pc:sldMk cId="89027789" sldId="625"/>
            <ac:picMk id="8" creationId="{E2DA4968-6D0B-4A04-828C-0F3E5A134414}"/>
          </ac:picMkLst>
        </pc:picChg>
        <pc:picChg chg="add mod ord">
          <ac:chgData name="Sam Mesel" userId="1ee7badb-5d1f-4872-89ae-dcf7b71f276a" providerId="ADAL" clId="{F7C5C94B-DA99-4F8F-8920-B24493331AC1}" dt="2020-03-07T22:43:50.598" v="979" actId="1076"/>
          <ac:picMkLst>
            <pc:docMk/>
            <pc:sldMk cId="89027789" sldId="625"/>
            <ac:picMk id="9" creationId="{4BB503AD-583B-4733-93A8-E3CD01E814D0}"/>
          </ac:picMkLst>
        </pc:picChg>
        <pc:picChg chg="add mod ord modCrop">
          <ac:chgData name="Sam Mesel" userId="1ee7badb-5d1f-4872-89ae-dcf7b71f276a" providerId="ADAL" clId="{F7C5C94B-DA99-4F8F-8920-B24493331AC1}" dt="2020-03-07T22:43:45.547" v="978" actId="1076"/>
          <ac:picMkLst>
            <pc:docMk/>
            <pc:sldMk cId="89027789" sldId="625"/>
            <ac:picMk id="10" creationId="{357188B9-A1B1-4144-AD87-829ED89D47FB}"/>
          </ac:picMkLst>
        </pc:picChg>
        <pc:picChg chg="add mod ord">
          <ac:chgData name="Sam Mesel" userId="1ee7badb-5d1f-4872-89ae-dcf7b71f276a" providerId="ADAL" clId="{F7C5C94B-DA99-4F8F-8920-B24493331AC1}" dt="2020-03-07T22:43:41.745" v="977" actId="1076"/>
          <ac:picMkLst>
            <pc:docMk/>
            <pc:sldMk cId="89027789" sldId="625"/>
            <ac:picMk id="11" creationId="{8470BF62-8AEC-4B10-9047-CD3B1FCA20FB}"/>
          </ac:picMkLst>
        </pc:picChg>
        <pc:picChg chg="add mod ord">
          <ac:chgData name="Sam Mesel" userId="1ee7badb-5d1f-4872-89ae-dcf7b71f276a" providerId="ADAL" clId="{F7C5C94B-DA99-4F8F-8920-B24493331AC1}" dt="2020-03-07T22:43:30.689" v="976" actId="1076"/>
          <ac:picMkLst>
            <pc:docMk/>
            <pc:sldMk cId="89027789" sldId="625"/>
            <ac:picMk id="12" creationId="{16ED6B3F-2F5E-4E48-9074-FDEA740AB14B}"/>
          </ac:picMkLst>
        </pc:picChg>
        <pc:picChg chg="add mod ord">
          <ac:chgData name="Sam Mesel" userId="1ee7badb-5d1f-4872-89ae-dcf7b71f276a" providerId="ADAL" clId="{F7C5C94B-DA99-4F8F-8920-B24493331AC1}" dt="2020-03-07T22:43:54.441" v="980" actId="1076"/>
          <ac:picMkLst>
            <pc:docMk/>
            <pc:sldMk cId="89027789" sldId="625"/>
            <ac:picMk id="13" creationId="{F1D86874-F8F6-4823-9AC3-317E43B2F78E}"/>
          </ac:picMkLst>
        </pc:picChg>
      </pc:sldChg>
      <pc:sldChg chg="add del">
        <pc:chgData name="Sam Mesel" userId="1ee7badb-5d1f-4872-89ae-dcf7b71f276a" providerId="ADAL" clId="{F7C5C94B-DA99-4F8F-8920-B24493331AC1}" dt="2020-03-07T19:32:04.509" v="683" actId="47"/>
        <pc:sldMkLst>
          <pc:docMk/>
          <pc:sldMk cId="1753996765" sldId="625"/>
        </pc:sldMkLst>
      </pc:sldChg>
      <pc:sldChg chg="addSp delSp modSp add del mod">
        <pc:chgData name="Sam Mesel" userId="1ee7badb-5d1f-4872-89ae-dcf7b71f276a" providerId="ADAL" clId="{F7C5C94B-DA99-4F8F-8920-B24493331AC1}" dt="2020-03-07T18:11:17.935" v="389" actId="2696"/>
        <pc:sldMkLst>
          <pc:docMk/>
          <pc:sldMk cId="1945720769" sldId="625"/>
        </pc:sldMkLst>
        <pc:spChg chg="add del">
          <ac:chgData name="Sam Mesel" userId="1ee7badb-5d1f-4872-89ae-dcf7b71f276a" providerId="ADAL" clId="{F7C5C94B-DA99-4F8F-8920-B24493331AC1}" dt="2020-03-07T18:08:08.710" v="384"/>
          <ac:spMkLst>
            <pc:docMk/>
            <pc:sldMk cId="1945720769" sldId="625"/>
            <ac:spMk id="4" creationId="{30D62E7C-2644-4BAD-B922-4AD586E1E329}"/>
          </ac:spMkLst>
        </pc:spChg>
        <pc:spChg chg="mod">
          <ac:chgData name="Sam Mesel" userId="1ee7badb-5d1f-4872-89ae-dcf7b71f276a" providerId="ADAL" clId="{F7C5C94B-DA99-4F8F-8920-B24493331AC1}" dt="2020-03-07T18:10:57.896" v="388"/>
          <ac:spMkLst>
            <pc:docMk/>
            <pc:sldMk cId="1945720769" sldId="625"/>
            <ac:spMk id="7" creationId="{3347287B-EEB8-4B84-ADF1-D7050BAA2A15}"/>
          </ac:spMkLst>
        </pc:spChg>
      </pc:sldChg>
      <pc:sldChg chg="addSp delSp modSp new del mod ord modShow chgLayout">
        <pc:chgData name="Sam Mesel" userId="1ee7badb-5d1f-4872-89ae-dcf7b71f276a" providerId="ADAL" clId="{F7C5C94B-DA99-4F8F-8920-B24493331AC1}" dt="2020-03-17T21:26:05.489" v="2242" actId="47"/>
        <pc:sldMkLst>
          <pc:docMk/>
          <pc:sldMk cId="665924382" sldId="626"/>
        </pc:sldMkLst>
        <pc:spChg chg="del mod ord">
          <ac:chgData name="Sam Mesel" userId="1ee7badb-5d1f-4872-89ae-dcf7b71f276a" providerId="ADAL" clId="{F7C5C94B-DA99-4F8F-8920-B24493331AC1}" dt="2020-03-07T23:20:52.882" v="1114" actId="700"/>
          <ac:spMkLst>
            <pc:docMk/>
            <pc:sldMk cId="665924382" sldId="626"/>
            <ac:spMk id="2" creationId="{738B0FEB-1B98-4A75-B9E3-9D6E70E6B38A}"/>
          </ac:spMkLst>
        </pc:spChg>
        <pc:spChg chg="add mod ord">
          <ac:chgData name="Sam Mesel" userId="1ee7badb-5d1f-4872-89ae-dcf7b71f276a" providerId="ADAL" clId="{F7C5C94B-DA99-4F8F-8920-B24493331AC1}" dt="2020-03-07T23:21:09.202" v="1146" actId="20577"/>
          <ac:spMkLst>
            <pc:docMk/>
            <pc:sldMk cId="665924382" sldId="626"/>
            <ac:spMk id="3" creationId="{44902052-399D-414E-B22A-718C02066F46}"/>
          </ac:spMkLst>
        </pc:spChg>
        <pc:spChg chg="add mod ord">
          <ac:chgData name="Sam Mesel" userId="1ee7badb-5d1f-4872-89ae-dcf7b71f276a" providerId="ADAL" clId="{F7C5C94B-DA99-4F8F-8920-B24493331AC1}" dt="2020-03-07T23:20:52.882" v="1114" actId="700"/>
          <ac:spMkLst>
            <pc:docMk/>
            <pc:sldMk cId="665924382" sldId="626"/>
            <ac:spMk id="4" creationId="{10D0E74E-18F5-4EF3-BF5F-C550F408994C}"/>
          </ac:spMkLst>
        </pc:spChg>
        <pc:spChg chg="add mod ord">
          <ac:chgData name="Sam Mesel" userId="1ee7badb-5d1f-4872-89ae-dcf7b71f276a" providerId="ADAL" clId="{F7C5C94B-DA99-4F8F-8920-B24493331AC1}" dt="2020-03-07T23:22:35.367" v="1439" actId="20577"/>
          <ac:spMkLst>
            <pc:docMk/>
            <pc:sldMk cId="665924382" sldId="626"/>
            <ac:spMk id="5" creationId="{1FD77C76-2D00-43EB-990A-CF6B1296374F}"/>
          </ac:spMkLst>
        </pc:spChg>
      </pc:sldChg>
      <pc:sldChg chg="modSp del">
        <pc:chgData name="Sam Mesel" userId="1ee7badb-5d1f-4872-89ae-dcf7b71f276a" providerId="ADAL" clId="{F7C5C94B-DA99-4F8F-8920-B24493331AC1}" dt="2020-03-10T21:52:22.550" v="2034" actId="47"/>
        <pc:sldMkLst>
          <pc:docMk/>
          <pc:sldMk cId="519037539" sldId="627"/>
        </pc:sldMkLst>
        <pc:graphicFrameChg chg="mod">
          <ac:chgData name="Sam Mesel" userId="1ee7badb-5d1f-4872-89ae-dcf7b71f276a" providerId="ADAL" clId="{F7C5C94B-DA99-4F8F-8920-B24493331AC1}" dt="2020-03-10T21:48:14.348" v="1971"/>
          <ac:graphicFrameMkLst>
            <pc:docMk/>
            <pc:sldMk cId="519037539" sldId="627"/>
            <ac:graphicFrameMk id="5" creationId="{B66B831C-F1F8-47C4-84AB-11D57DC1D212}"/>
          </ac:graphicFrameMkLst>
        </pc:graphicFrameChg>
      </pc:sldChg>
      <pc:sldChg chg="modSp mod">
        <pc:chgData name="Sam Mesel" userId="1ee7badb-5d1f-4872-89ae-dcf7b71f276a" providerId="ADAL" clId="{F7C5C94B-DA99-4F8F-8920-B24493331AC1}" dt="2020-03-10T21:52:16.402" v="2033" actId="113"/>
        <pc:sldMkLst>
          <pc:docMk/>
          <pc:sldMk cId="4058008946" sldId="628"/>
        </pc:sldMkLst>
        <pc:spChg chg="mod">
          <ac:chgData name="Sam Mesel" userId="1ee7badb-5d1f-4872-89ae-dcf7b71f276a" providerId="ADAL" clId="{F7C5C94B-DA99-4F8F-8920-B24493331AC1}" dt="2020-03-10T21:49:10.980" v="1989" actId="6549"/>
          <ac:spMkLst>
            <pc:docMk/>
            <pc:sldMk cId="4058008946" sldId="628"/>
            <ac:spMk id="2" creationId="{E608A065-D26A-44B7-9DFD-F2A6E315D2EB}"/>
          </ac:spMkLst>
        </pc:spChg>
        <pc:graphicFrameChg chg="mod">
          <ac:chgData name="Sam Mesel" userId="1ee7badb-5d1f-4872-89ae-dcf7b71f276a" providerId="ADAL" clId="{F7C5C94B-DA99-4F8F-8920-B24493331AC1}" dt="2020-03-10T21:52:16.402" v="2033" actId="113"/>
          <ac:graphicFrameMkLst>
            <pc:docMk/>
            <pc:sldMk cId="4058008946" sldId="628"/>
            <ac:graphicFrameMk id="5" creationId="{103F0B17-D8FA-472F-9715-D1C7D8D6FE8A}"/>
          </ac:graphicFrameMkLst>
        </pc:graphicFrameChg>
      </pc:sldChg>
      <pc:sldChg chg="modSp">
        <pc:chgData name="Sam Mesel" userId="1ee7badb-5d1f-4872-89ae-dcf7b71f276a" providerId="ADAL" clId="{F7C5C94B-DA99-4F8F-8920-B24493331AC1}" dt="2020-03-10T22:03:15.085" v="2111" actId="14100"/>
        <pc:sldMkLst>
          <pc:docMk/>
          <pc:sldMk cId="1050351849" sldId="631"/>
        </pc:sldMkLst>
        <pc:graphicFrameChg chg="mod">
          <ac:chgData name="Sam Mesel" userId="1ee7badb-5d1f-4872-89ae-dcf7b71f276a" providerId="ADAL" clId="{F7C5C94B-DA99-4F8F-8920-B24493331AC1}" dt="2020-03-10T22:03:15.085" v="2111" actId="14100"/>
          <ac:graphicFrameMkLst>
            <pc:docMk/>
            <pc:sldMk cId="1050351849" sldId="631"/>
            <ac:graphicFrameMk id="10" creationId="{D4627112-D2CC-4149-B709-7ABC7F0D1E4F}"/>
          </ac:graphicFrameMkLst>
        </pc:graphicFrameChg>
      </pc:sldChg>
      <pc:sldChg chg="modSp">
        <pc:chgData name="Sam Mesel" userId="1ee7badb-5d1f-4872-89ae-dcf7b71f276a" providerId="ADAL" clId="{F7C5C94B-DA99-4F8F-8920-B24493331AC1}" dt="2020-03-10T22:28:18.944" v="2151" actId="14100"/>
        <pc:sldMkLst>
          <pc:docMk/>
          <pc:sldMk cId="3423763271" sldId="633"/>
        </pc:sldMkLst>
        <pc:graphicFrameChg chg="mod">
          <ac:chgData name="Sam Mesel" userId="1ee7badb-5d1f-4872-89ae-dcf7b71f276a" providerId="ADAL" clId="{F7C5C94B-DA99-4F8F-8920-B24493331AC1}" dt="2020-03-10T22:28:18.944" v="2151" actId="14100"/>
          <ac:graphicFrameMkLst>
            <pc:docMk/>
            <pc:sldMk cId="3423763271" sldId="633"/>
            <ac:graphicFrameMk id="8" creationId="{6224B7FE-113D-4092-9734-989D4D500727}"/>
          </ac:graphicFrameMkLst>
        </pc:graphicFrameChg>
      </pc:sldChg>
      <pc:sldChg chg="modSp mod modNotesTx">
        <pc:chgData name="Sam Mesel" userId="1ee7badb-5d1f-4872-89ae-dcf7b71f276a" providerId="ADAL" clId="{F7C5C94B-DA99-4F8F-8920-B24493331AC1}" dt="2020-03-20T19:28:40.540" v="2367" actId="108"/>
        <pc:sldMkLst>
          <pc:docMk/>
          <pc:sldMk cId="2183694389" sldId="645"/>
        </pc:sldMkLst>
        <pc:spChg chg="mod">
          <ac:chgData name="Sam Mesel" userId="1ee7badb-5d1f-4872-89ae-dcf7b71f276a" providerId="ADAL" clId="{F7C5C94B-DA99-4F8F-8920-B24493331AC1}" dt="2020-03-20T19:28:40.540" v="2367" actId="108"/>
          <ac:spMkLst>
            <pc:docMk/>
            <pc:sldMk cId="2183694389" sldId="645"/>
            <ac:spMk id="2" creationId="{BC57B38C-8413-4861-A4F5-7DF656AEAD0D}"/>
          </ac:spMkLst>
        </pc:spChg>
      </pc:sldChg>
      <pc:sldChg chg="modSp mod">
        <pc:chgData name="Sam Mesel" userId="1ee7badb-5d1f-4872-89ae-dcf7b71f276a" providerId="ADAL" clId="{F7C5C94B-DA99-4F8F-8920-B24493331AC1}" dt="2020-03-10T21:55:57.796" v="2040" actId="1076"/>
        <pc:sldMkLst>
          <pc:docMk/>
          <pc:sldMk cId="784210373" sldId="648"/>
        </pc:sldMkLst>
        <pc:picChg chg="mod">
          <ac:chgData name="Sam Mesel" userId="1ee7badb-5d1f-4872-89ae-dcf7b71f276a" providerId="ADAL" clId="{F7C5C94B-DA99-4F8F-8920-B24493331AC1}" dt="2020-03-10T21:55:57.796" v="2040" actId="1076"/>
          <ac:picMkLst>
            <pc:docMk/>
            <pc:sldMk cId="784210373" sldId="648"/>
            <ac:picMk id="3" creationId="{ADF70B1D-432E-4623-9290-59479E53DC58}"/>
          </ac:picMkLst>
        </pc:picChg>
        <pc:picChg chg="mod">
          <ac:chgData name="Sam Mesel" userId="1ee7badb-5d1f-4872-89ae-dcf7b71f276a" providerId="ADAL" clId="{F7C5C94B-DA99-4F8F-8920-B24493331AC1}" dt="2020-03-10T21:55:55.665" v="2039" actId="1076"/>
          <ac:picMkLst>
            <pc:docMk/>
            <pc:sldMk cId="784210373" sldId="648"/>
            <ac:picMk id="5" creationId="{4A53DC24-8772-4547-ADD7-33D3CCD91C28}"/>
          </ac:picMkLst>
        </pc:picChg>
      </pc:sldChg>
      <pc:sldChg chg="modSp mod">
        <pc:chgData name="Sam Mesel" userId="1ee7badb-5d1f-4872-89ae-dcf7b71f276a" providerId="ADAL" clId="{F7C5C94B-DA99-4F8F-8920-B24493331AC1}" dt="2020-03-10T21:57:40.301" v="2045" actId="14100"/>
        <pc:sldMkLst>
          <pc:docMk/>
          <pc:sldMk cId="3324468482" sldId="650"/>
        </pc:sldMkLst>
        <pc:picChg chg="mod">
          <ac:chgData name="Sam Mesel" userId="1ee7badb-5d1f-4872-89ae-dcf7b71f276a" providerId="ADAL" clId="{F7C5C94B-DA99-4F8F-8920-B24493331AC1}" dt="2020-03-10T21:57:40.301" v="2045" actId="14100"/>
          <ac:picMkLst>
            <pc:docMk/>
            <pc:sldMk cId="3324468482" sldId="650"/>
            <ac:picMk id="3" creationId="{48B5CCB5-87BA-45F8-822B-61D3590A500B}"/>
          </ac:picMkLst>
        </pc:picChg>
      </pc:sldChg>
      <pc:sldChg chg="modSp new del mod">
        <pc:chgData name="Sam Mesel" userId="1ee7badb-5d1f-4872-89ae-dcf7b71f276a" providerId="ADAL" clId="{F7C5C94B-DA99-4F8F-8920-B24493331AC1}" dt="2020-03-17T21:27:54.168" v="2243" actId="47"/>
        <pc:sldMkLst>
          <pc:docMk/>
          <pc:sldMk cId="2664906264" sldId="651"/>
        </pc:sldMkLst>
        <pc:spChg chg="mod">
          <ac:chgData name="Sam Mesel" userId="1ee7badb-5d1f-4872-89ae-dcf7b71f276a" providerId="ADAL" clId="{F7C5C94B-DA99-4F8F-8920-B24493331AC1}" dt="2020-03-10T17:37:43.606" v="1487" actId="20577"/>
          <ac:spMkLst>
            <pc:docMk/>
            <pc:sldMk cId="2664906264" sldId="651"/>
            <ac:spMk id="4" creationId="{11D1F6D2-B020-4F61-A255-595AE49632F7}"/>
          </ac:spMkLst>
        </pc:spChg>
      </pc:sldChg>
      <pc:sldChg chg="modNotesTx">
        <pc:chgData name="Sam Mesel" userId="1ee7badb-5d1f-4872-89ae-dcf7b71f276a" providerId="ADAL" clId="{F7C5C94B-DA99-4F8F-8920-B24493331AC1}" dt="2020-03-17T22:02:07.416" v="2270" actId="20577"/>
        <pc:sldMkLst>
          <pc:docMk/>
          <pc:sldMk cId="2059970586" sldId="652"/>
        </pc:sldMkLst>
      </pc:sldChg>
      <pc:sldChg chg="addSp modSp add mod">
        <pc:chgData name="Sam Mesel" userId="1ee7badb-5d1f-4872-89ae-dcf7b71f276a" providerId="ADAL" clId="{F7C5C94B-DA99-4F8F-8920-B24493331AC1}" dt="2020-03-10T18:49:30.666" v="1793"/>
        <pc:sldMkLst>
          <pc:docMk/>
          <pc:sldMk cId="3998996383" sldId="653"/>
        </pc:sldMkLst>
        <pc:spChg chg="mod">
          <ac:chgData name="Sam Mesel" userId="1ee7badb-5d1f-4872-89ae-dcf7b71f276a" providerId="ADAL" clId="{F7C5C94B-DA99-4F8F-8920-B24493331AC1}" dt="2020-03-10T18:42:28.945" v="1715" actId="6549"/>
          <ac:spMkLst>
            <pc:docMk/>
            <pc:sldMk cId="3998996383" sldId="653"/>
            <ac:spMk id="2" creationId="{EB67312A-9819-43C6-8D84-D9136E6CFFCC}"/>
          </ac:spMkLst>
        </pc:spChg>
        <pc:spChg chg="add">
          <ac:chgData name="Sam Mesel" userId="1ee7badb-5d1f-4872-89ae-dcf7b71f276a" providerId="ADAL" clId="{F7C5C94B-DA99-4F8F-8920-B24493331AC1}" dt="2020-03-10T18:41:37.447" v="1705"/>
          <ac:spMkLst>
            <pc:docMk/>
            <pc:sldMk cId="3998996383" sldId="653"/>
            <ac:spMk id="7" creationId="{B298D192-BDE0-4F29-A2E0-C3804C9A7E8E}"/>
          </ac:spMkLst>
        </pc:spChg>
        <pc:spChg chg="add">
          <ac:chgData name="Sam Mesel" userId="1ee7badb-5d1f-4872-89ae-dcf7b71f276a" providerId="ADAL" clId="{F7C5C94B-DA99-4F8F-8920-B24493331AC1}" dt="2020-03-10T18:41:37.447" v="1705"/>
          <ac:spMkLst>
            <pc:docMk/>
            <pc:sldMk cId="3998996383" sldId="653"/>
            <ac:spMk id="8" creationId="{F4A8496D-D63E-4EDC-B819-4CF008B1BEEF}"/>
          </ac:spMkLst>
        </pc:spChg>
        <pc:grpChg chg="add mod">
          <ac:chgData name="Sam Mesel" userId="1ee7badb-5d1f-4872-89ae-dcf7b71f276a" providerId="ADAL" clId="{F7C5C94B-DA99-4F8F-8920-B24493331AC1}" dt="2020-03-10T18:41:39.268" v="1706"/>
          <ac:grpSpMkLst>
            <pc:docMk/>
            <pc:sldMk cId="3998996383" sldId="653"/>
            <ac:grpSpMk id="6" creationId="{17BFA332-A576-4C9B-82E5-B9ED73B8EA4D}"/>
          </ac:grpSpMkLst>
        </pc:grpChg>
        <pc:graphicFrameChg chg="mod">
          <ac:chgData name="Sam Mesel" userId="1ee7badb-5d1f-4872-89ae-dcf7b71f276a" providerId="ADAL" clId="{F7C5C94B-DA99-4F8F-8920-B24493331AC1}" dt="2020-03-10T18:44:09.795" v="1744" actId="14100"/>
          <ac:graphicFrameMkLst>
            <pc:docMk/>
            <pc:sldMk cId="3998996383" sldId="653"/>
            <ac:graphicFrameMk id="5" creationId="{44B17301-66B9-46C5-B710-C2BFBFF70B60}"/>
          </ac:graphicFrameMkLst>
        </pc:graphicFrameChg>
        <pc:graphicFrameChg chg="add mod">
          <ac:chgData name="Sam Mesel" userId="1ee7badb-5d1f-4872-89ae-dcf7b71f276a" providerId="ADAL" clId="{F7C5C94B-DA99-4F8F-8920-B24493331AC1}" dt="2020-03-10T18:49:30.666" v="1793"/>
          <ac:graphicFrameMkLst>
            <pc:docMk/>
            <pc:sldMk cId="3998996383" sldId="653"/>
            <ac:graphicFrameMk id="9" creationId="{403E7EC3-3214-4E4B-8924-AB1CB1A79B74}"/>
          </ac:graphicFrameMkLst>
        </pc:graphicFrameChg>
      </pc:sldChg>
      <pc:sldChg chg="add del">
        <pc:chgData name="Sam Mesel" userId="1ee7badb-5d1f-4872-89ae-dcf7b71f276a" providerId="ADAL" clId="{F7C5C94B-DA99-4F8F-8920-B24493331AC1}" dt="2020-03-10T21:55:59.738" v="2041"/>
        <pc:sldMkLst>
          <pc:docMk/>
          <pc:sldMk cId="1967314948" sldId="654"/>
        </pc:sldMkLst>
      </pc:sldChg>
      <pc:sldChg chg="add del">
        <pc:chgData name="Sam Mesel" userId="1ee7badb-5d1f-4872-89ae-dcf7b71f276a" providerId="ADAL" clId="{F7C5C94B-DA99-4F8F-8920-B24493331AC1}" dt="2020-03-10T21:52:26.163" v="2035" actId="47"/>
        <pc:sldMkLst>
          <pc:docMk/>
          <pc:sldMk cId="2324890073" sldId="654"/>
        </pc:sldMkLst>
      </pc:sldChg>
    </pc:docChg>
  </pc:docChgLst>
  <pc:docChgLst>
    <pc:chgData name="Batuhan Yildiz" userId="90f344fc-4655-4923-aeaf-697bba59c1a7" providerId="ADAL" clId="{2A2D35E8-34E5-4C04-8418-C55C13A2C52D}"/>
    <pc:docChg chg="undo custSel modSld">
      <pc:chgData name="Batuhan Yildiz" userId="90f344fc-4655-4923-aeaf-697bba59c1a7" providerId="ADAL" clId="{2A2D35E8-34E5-4C04-8418-C55C13A2C52D}" dt="2020-04-06T16:26:04.908" v="133" actId="20577"/>
      <pc:docMkLst>
        <pc:docMk/>
      </pc:docMkLst>
      <pc:sldChg chg="modSp mod modNotesTx">
        <pc:chgData name="Batuhan Yildiz" userId="90f344fc-4655-4923-aeaf-697bba59c1a7" providerId="ADAL" clId="{2A2D35E8-34E5-4C04-8418-C55C13A2C52D}" dt="2020-04-06T16:24:08.995" v="114"/>
        <pc:sldMkLst>
          <pc:docMk/>
          <pc:sldMk cId="4267675391" sldId="531"/>
        </pc:sldMkLst>
        <pc:spChg chg="mod">
          <ac:chgData name="Batuhan Yildiz" userId="90f344fc-4655-4923-aeaf-697bba59c1a7" providerId="ADAL" clId="{2A2D35E8-34E5-4C04-8418-C55C13A2C52D}" dt="2020-04-03T23:22:56.150" v="14" actId="14100"/>
          <ac:spMkLst>
            <pc:docMk/>
            <pc:sldMk cId="4267675391" sldId="531"/>
            <ac:spMk id="6" creationId="{637E159C-9ACF-48AE-927A-D5FB13695C7F}"/>
          </ac:spMkLst>
        </pc:spChg>
      </pc:sldChg>
      <pc:sldChg chg="modSp mod modNotesTx">
        <pc:chgData name="Batuhan Yildiz" userId="90f344fc-4655-4923-aeaf-697bba59c1a7" providerId="ADAL" clId="{2A2D35E8-34E5-4C04-8418-C55C13A2C52D}" dt="2020-04-06T16:25:25.635" v="125"/>
        <pc:sldMkLst>
          <pc:docMk/>
          <pc:sldMk cId="670385602" sldId="567"/>
        </pc:sldMkLst>
        <pc:spChg chg="mod">
          <ac:chgData name="Batuhan Yildiz" userId="90f344fc-4655-4923-aeaf-697bba59c1a7" providerId="ADAL" clId="{2A2D35E8-34E5-4C04-8418-C55C13A2C52D}" dt="2020-04-03T23:29:54.171" v="96" actId="255"/>
          <ac:spMkLst>
            <pc:docMk/>
            <pc:sldMk cId="670385602" sldId="567"/>
            <ac:spMk id="6" creationId="{637E159C-9ACF-48AE-927A-D5FB13695C7F}"/>
          </ac:spMkLst>
        </pc:spChg>
      </pc:sldChg>
      <pc:sldChg chg="modNotesTx">
        <pc:chgData name="Batuhan Yildiz" userId="90f344fc-4655-4923-aeaf-697bba59c1a7" providerId="ADAL" clId="{2A2D35E8-34E5-4C04-8418-C55C13A2C52D}" dt="2020-04-06T16:26:04.908" v="133" actId="20577"/>
        <pc:sldMkLst>
          <pc:docMk/>
          <pc:sldMk cId="2183694389" sldId="645"/>
        </pc:sldMkLst>
      </pc:sldChg>
      <pc:sldChg chg="modSp mod modNotesTx">
        <pc:chgData name="Batuhan Yildiz" userId="90f344fc-4655-4923-aeaf-697bba59c1a7" providerId="ADAL" clId="{2A2D35E8-34E5-4C04-8418-C55C13A2C52D}" dt="2020-04-06T16:24:47.613" v="119"/>
        <pc:sldMkLst>
          <pc:docMk/>
          <pc:sldMk cId="2059970586" sldId="652"/>
        </pc:sldMkLst>
        <pc:spChg chg="mod">
          <ac:chgData name="Batuhan Yildiz" userId="90f344fc-4655-4923-aeaf-697bba59c1a7" providerId="ADAL" clId="{2A2D35E8-34E5-4C04-8418-C55C13A2C52D}" dt="2020-04-03T23:28:15.001" v="56" actId="20577"/>
          <ac:spMkLst>
            <pc:docMk/>
            <pc:sldMk cId="2059970586" sldId="652"/>
            <ac:spMk id="6" creationId="{637E159C-9ACF-48AE-927A-D5FB13695C7F}"/>
          </ac:spMkLst>
        </pc:spChg>
      </pc:sldChg>
    </pc:docChg>
  </pc:docChgLst>
  <pc:docChgLst>
    <pc:chgData name="Susan Van Eyck" userId="S::svaneyck@microsoft.com::662afd01-5edf-4fbb-b0e2-2ead5b38d415" providerId="AD" clId="Web-{3B7A4FED-90EA-454E-2510-94DFED84C01F}"/>
    <pc:docChg chg="modSld">
      <pc:chgData name="Susan Van Eyck" userId="S::svaneyck@microsoft.com::662afd01-5edf-4fbb-b0e2-2ead5b38d415" providerId="AD" clId="Web-{3B7A4FED-90EA-454E-2510-94DFED84C01F}" dt="2020-03-10T18:03:02.499" v="69"/>
      <pc:docMkLst>
        <pc:docMk/>
      </pc:docMkLst>
      <pc:sldChg chg="modNotes">
        <pc:chgData name="Susan Van Eyck" userId="S::svaneyck@microsoft.com::662afd01-5edf-4fbb-b0e2-2ead5b38d415" providerId="AD" clId="Web-{3B7A4FED-90EA-454E-2510-94DFED84C01F}" dt="2020-03-10T18:03:02.499" v="69"/>
        <pc:sldMkLst>
          <pc:docMk/>
          <pc:sldMk cId="4267675391" sldId="531"/>
        </pc:sldMkLst>
      </pc:sldChg>
      <pc:sldChg chg="modNotes">
        <pc:chgData name="Susan Van Eyck" userId="S::svaneyck@microsoft.com::662afd01-5edf-4fbb-b0e2-2ead5b38d415" providerId="AD" clId="Web-{3B7A4FED-90EA-454E-2510-94DFED84C01F}" dt="2020-03-10T18:02:35.780" v="65"/>
        <pc:sldMkLst>
          <pc:docMk/>
          <pc:sldMk cId="670385602" sldId="567"/>
        </pc:sldMkLst>
      </pc:sldChg>
      <pc:sldChg chg="modSp">
        <pc:chgData name="Susan Van Eyck" userId="S::svaneyck@microsoft.com::662afd01-5edf-4fbb-b0e2-2ead5b38d415" providerId="AD" clId="Web-{3B7A4FED-90EA-454E-2510-94DFED84C01F}" dt="2020-03-10T18:01:35.342" v="36" actId="20577"/>
        <pc:sldMkLst>
          <pc:docMk/>
          <pc:sldMk cId="524507872" sldId="583"/>
        </pc:sldMkLst>
        <pc:graphicFrameChg chg="modGraphic">
          <ac:chgData name="Susan Van Eyck" userId="S::svaneyck@microsoft.com::662afd01-5edf-4fbb-b0e2-2ead5b38d415" providerId="AD" clId="Web-{3B7A4FED-90EA-454E-2510-94DFED84C01F}" dt="2020-03-10T18:01:35.342" v="36" actId="20577"/>
          <ac:graphicFrameMkLst>
            <pc:docMk/>
            <pc:sldMk cId="524507872" sldId="583"/>
            <ac:graphicFrameMk id="5" creationId="{44B17301-66B9-46C5-B710-C2BFBFF70B60}"/>
          </ac:graphicFrameMkLst>
        </pc:graphicFrameChg>
      </pc:sldChg>
    </pc:docChg>
  </pc:docChgLst>
  <pc:docChgLst>
    <pc:chgData name="Steve Hord" userId="7478402321db30a2" providerId="LiveId" clId="{FAB8070D-8983-46E3-BD95-31A1080A9F4E}"/>
    <pc:docChg chg="undo modSld">
      <pc:chgData name="Steve Hord" userId="7478402321db30a2" providerId="LiveId" clId="{FAB8070D-8983-46E3-BD95-31A1080A9F4E}" dt="2020-04-23T18:44:07.499" v="262" actId="6549"/>
      <pc:docMkLst>
        <pc:docMk/>
      </pc:docMkLst>
      <pc:sldChg chg="modSp modNotesTx">
        <pc:chgData name="Steve Hord" userId="7478402321db30a2" providerId="LiveId" clId="{FAB8070D-8983-46E3-BD95-31A1080A9F4E}" dt="2020-04-23T17:21:11.540" v="77" actId="114"/>
        <pc:sldMkLst>
          <pc:docMk/>
          <pc:sldMk cId="4267675391" sldId="531"/>
        </pc:sldMkLst>
        <pc:spChg chg="mod">
          <ac:chgData name="Steve Hord" userId="7478402321db30a2" providerId="LiveId" clId="{FAB8070D-8983-46E3-BD95-31A1080A9F4E}" dt="2020-04-23T17:20:48.249" v="74" actId="1076"/>
          <ac:spMkLst>
            <pc:docMk/>
            <pc:sldMk cId="4267675391" sldId="531"/>
            <ac:spMk id="6" creationId="{637E159C-9ACF-48AE-927A-D5FB13695C7F}"/>
          </ac:spMkLst>
        </pc:spChg>
      </pc:sldChg>
      <pc:sldChg chg="modSp modNotesTx">
        <pc:chgData name="Steve Hord" userId="7478402321db30a2" providerId="LiveId" clId="{FAB8070D-8983-46E3-BD95-31A1080A9F4E}" dt="2020-04-23T00:16:00.045" v="17" actId="6549"/>
        <pc:sldMkLst>
          <pc:docMk/>
          <pc:sldMk cId="2621600474" sldId="534"/>
        </pc:sldMkLst>
        <pc:spChg chg="mod">
          <ac:chgData name="Steve Hord" userId="7478402321db30a2" providerId="LiveId" clId="{FAB8070D-8983-46E3-BD95-31A1080A9F4E}" dt="2020-04-23T00:13:38.063" v="3" actId="20577"/>
          <ac:spMkLst>
            <pc:docMk/>
            <pc:sldMk cId="2621600474" sldId="534"/>
            <ac:spMk id="5" creationId="{55182462-DFDF-4D48-A92C-42FD52821C4E}"/>
          </ac:spMkLst>
        </pc:spChg>
      </pc:sldChg>
      <pc:sldChg chg="modSp">
        <pc:chgData name="Steve Hord" userId="7478402321db30a2" providerId="LiveId" clId="{FAB8070D-8983-46E3-BD95-31A1080A9F4E}" dt="2020-04-23T17:21:28.672" v="78" actId="255"/>
        <pc:sldMkLst>
          <pc:docMk/>
          <pc:sldMk cId="2980146838" sldId="560"/>
        </pc:sldMkLst>
        <pc:spChg chg="mod">
          <ac:chgData name="Steve Hord" userId="7478402321db30a2" providerId="LiveId" clId="{FAB8070D-8983-46E3-BD95-31A1080A9F4E}" dt="2020-04-23T17:21:28.672" v="78" actId="255"/>
          <ac:spMkLst>
            <pc:docMk/>
            <pc:sldMk cId="2980146838" sldId="560"/>
            <ac:spMk id="2" creationId="{4615BB0C-211A-4A6B-A4FE-D9C725309C49}"/>
          </ac:spMkLst>
        </pc:spChg>
      </pc:sldChg>
      <pc:sldChg chg="modSp modNotesTx">
        <pc:chgData name="Steve Hord" userId="7478402321db30a2" providerId="LiveId" clId="{FAB8070D-8983-46E3-BD95-31A1080A9F4E}" dt="2020-04-23T17:25:24.162" v="90" actId="20577"/>
        <pc:sldMkLst>
          <pc:docMk/>
          <pc:sldMk cId="3735096506" sldId="563"/>
        </pc:sldMkLst>
        <pc:graphicFrameChg chg="mod">
          <ac:chgData name="Steve Hord" userId="7478402321db30a2" providerId="LiveId" clId="{FAB8070D-8983-46E3-BD95-31A1080A9F4E}" dt="2020-04-23T17:23:25.703" v="84" actId="255"/>
          <ac:graphicFrameMkLst>
            <pc:docMk/>
            <pc:sldMk cId="3735096506" sldId="563"/>
            <ac:graphicFrameMk id="3" creationId="{9484E1FE-7534-495E-863C-657A46F5E628}"/>
          </ac:graphicFrameMkLst>
        </pc:graphicFrameChg>
      </pc:sldChg>
      <pc:sldChg chg="modSp">
        <pc:chgData name="Steve Hord" userId="7478402321db30a2" providerId="LiveId" clId="{FAB8070D-8983-46E3-BD95-31A1080A9F4E}" dt="2020-04-23T17:26:41.430" v="96" actId="20577"/>
        <pc:sldMkLst>
          <pc:docMk/>
          <pc:sldMk cId="2034824179" sldId="565"/>
        </pc:sldMkLst>
        <pc:spChg chg="mod">
          <ac:chgData name="Steve Hord" userId="7478402321db30a2" providerId="LiveId" clId="{FAB8070D-8983-46E3-BD95-31A1080A9F4E}" dt="2020-04-23T17:26:41.430" v="96" actId="20577"/>
          <ac:spMkLst>
            <pc:docMk/>
            <pc:sldMk cId="2034824179" sldId="565"/>
            <ac:spMk id="5" creationId="{55182462-DFDF-4D48-A92C-42FD52821C4E}"/>
          </ac:spMkLst>
        </pc:spChg>
      </pc:sldChg>
      <pc:sldChg chg="modSp">
        <pc:chgData name="Steve Hord" userId="7478402321db30a2" providerId="LiveId" clId="{FAB8070D-8983-46E3-BD95-31A1080A9F4E}" dt="2020-04-23T17:29:21.183" v="105" actId="255"/>
        <pc:sldMkLst>
          <pc:docMk/>
          <pc:sldMk cId="4221783869" sldId="566"/>
        </pc:sldMkLst>
        <pc:graphicFrameChg chg="mod">
          <ac:chgData name="Steve Hord" userId="7478402321db30a2" providerId="LiveId" clId="{FAB8070D-8983-46E3-BD95-31A1080A9F4E}" dt="2020-04-23T17:29:21.183" v="105" actId="255"/>
          <ac:graphicFrameMkLst>
            <pc:docMk/>
            <pc:sldMk cId="4221783869" sldId="566"/>
            <ac:graphicFrameMk id="5" creationId="{D9406A8A-972C-425D-A080-B2787ED166AE}"/>
          </ac:graphicFrameMkLst>
        </pc:graphicFrameChg>
      </pc:sldChg>
      <pc:sldChg chg="modNotesTx">
        <pc:chgData name="Steve Hord" userId="7478402321db30a2" providerId="LiveId" clId="{FAB8070D-8983-46E3-BD95-31A1080A9F4E}" dt="2020-04-23T18:16:58.281" v="150" actId="114"/>
        <pc:sldMkLst>
          <pc:docMk/>
          <pc:sldMk cId="670385602" sldId="567"/>
        </pc:sldMkLst>
      </pc:sldChg>
      <pc:sldChg chg="modSp">
        <pc:chgData name="Steve Hord" userId="7478402321db30a2" providerId="LiveId" clId="{FAB8070D-8983-46E3-BD95-31A1080A9F4E}" dt="2020-04-23T18:17:16.142" v="151" actId="255"/>
        <pc:sldMkLst>
          <pc:docMk/>
          <pc:sldMk cId="1617064737" sldId="569"/>
        </pc:sldMkLst>
        <pc:spChg chg="mod">
          <ac:chgData name="Steve Hord" userId="7478402321db30a2" providerId="LiveId" clId="{FAB8070D-8983-46E3-BD95-31A1080A9F4E}" dt="2020-04-23T18:17:16.142" v="151" actId="255"/>
          <ac:spMkLst>
            <pc:docMk/>
            <pc:sldMk cId="1617064737" sldId="569"/>
            <ac:spMk id="2" creationId="{4615BB0C-211A-4A6B-A4FE-D9C725309C49}"/>
          </ac:spMkLst>
        </pc:spChg>
      </pc:sldChg>
      <pc:sldChg chg="modSp modNotesTx">
        <pc:chgData name="Steve Hord" userId="7478402321db30a2" providerId="LiveId" clId="{FAB8070D-8983-46E3-BD95-31A1080A9F4E}" dt="2020-04-23T18:23:15.545" v="167" actId="20577"/>
        <pc:sldMkLst>
          <pc:docMk/>
          <pc:sldMk cId="2346840044" sldId="570"/>
        </pc:sldMkLst>
        <pc:graphicFrameChg chg="mod">
          <ac:chgData name="Steve Hord" userId="7478402321db30a2" providerId="LiveId" clId="{FAB8070D-8983-46E3-BD95-31A1080A9F4E}" dt="2020-04-23T18:20:16.103" v="162" actId="20577"/>
          <ac:graphicFrameMkLst>
            <pc:docMk/>
            <pc:sldMk cId="2346840044" sldId="570"/>
            <ac:graphicFrameMk id="3" creationId="{9484E1FE-7534-495E-863C-657A46F5E628}"/>
          </ac:graphicFrameMkLst>
        </pc:graphicFrameChg>
      </pc:sldChg>
      <pc:sldChg chg="modSp">
        <pc:chgData name="Steve Hord" userId="7478402321db30a2" providerId="LiveId" clId="{FAB8070D-8983-46E3-BD95-31A1080A9F4E}" dt="2020-04-23T18:24:13.405" v="174" actId="20577"/>
        <pc:sldMkLst>
          <pc:docMk/>
          <pc:sldMk cId="2314306782" sldId="572"/>
        </pc:sldMkLst>
        <pc:spChg chg="mod">
          <ac:chgData name="Steve Hord" userId="7478402321db30a2" providerId="LiveId" clId="{FAB8070D-8983-46E3-BD95-31A1080A9F4E}" dt="2020-04-23T18:24:13.405" v="174" actId="20577"/>
          <ac:spMkLst>
            <pc:docMk/>
            <pc:sldMk cId="2314306782" sldId="572"/>
            <ac:spMk id="5" creationId="{55182462-DFDF-4D48-A92C-42FD52821C4E}"/>
          </ac:spMkLst>
        </pc:spChg>
      </pc:sldChg>
      <pc:sldChg chg="modSp">
        <pc:chgData name="Steve Hord" userId="7478402321db30a2" providerId="LiveId" clId="{FAB8070D-8983-46E3-BD95-31A1080A9F4E}" dt="2020-04-23T18:37:52.837" v="239" actId="255"/>
        <pc:sldMkLst>
          <pc:docMk/>
          <pc:sldMk cId="1775931326" sldId="576"/>
        </pc:sldMkLst>
        <pc:spChg chg="mod">
          <ac:chgData name="Steve Hord" userId="7478402321db30a2" providerId="LiveId" clId="{FAB8070D-8983-46E3-BD95-31A1080A9F4E}" dt="2020-04-23T18:37:52.837" v="239" actId="255"/>
          <ac:spMkLst>
            <pc:docMk/>
            <pc:sldMk cId="1775931326" sldId="576"/>
            <ac:spMk id="2" creationId="{4615BB0C-211A-4A6B-A4FE-D9C725309C49}"/>
          </ac:spMkLst>
        </pc:spChg>
      </pc:sldChg>
      <pc:sldChg chg="modSp modNotesTx">
        <pc:chgData name="Steve Hord" userId="7478402321db30a2" providerId="LiveId" clId="{FAB8070D-8983-46E3-BD95-31A1080A9F4E}" dt="2020-04-23T18:44:07.499" v="262" actId="6549"/>
        <pc:sldMkLst>
          <pc:docMk/>
          <pc:sldMk cId="4206133277" sldId="577"/>
        </pc:sldMkLst>
        <pc:graphicFrameChg chg="mod">
          <ac:chgData name="Steve Hord" userId="7478402321db30a2" providerId="LiveId" clId="{FAB8070D-8983-46E3-BD95-31A1080A9F4E}" dt="2020-04-23T18:39:50.165" v="245" actId="20577"/>
          <ac:graphicFrameMkLst>
            <pc:docMk/>
            <pc:sldMk cId="4206133277" sldId="577"/>
            <ac:graphicFrameMk id="3" creationId="{9484E1FE-7534-495E-863C-657A46F5E628}"/>
          </ac:graphicFrameMkLst>
        </pc:graphicFrameChg>
      </pc:sldChg>
      <pc:sldChg chg="modSp">
        <pc:chgData name="Steve Hord" userId="7478402321db30a2" providerId="LiveId" clId="{FAB8070D-8983-46E3-BD95-31A1080A9F4E}" dt="2020-04-23T16:45:48.896" v="38" actId="20577"/>
        <pc:sldMkLst>
          <pc:docMk/>
          <pc:sldMk cId="1516663082" sldId="581"/>
        </pc:sldMkLst>
        <pc:graphicFrameChg chg="mod">
          <ac:chgData name="Steve Hord" userId="7478402321db30a2" providerId="LiveId" clId="{FAB8070D-8983-46E3-BD95-31A1080A9F4E}" dt="2020-04-23T16:45:48.896" v="38" actId="20577"/>
          <ac:graphicFrameMkLst>
            <pc:docMk/>
            <pc:sldMk cId="1516663082" sldId="581"/>
            <ac:graphicFrameMk id="5" creationId="{DBCA296B-3874-45F7-AB56-F74E5DE12643}"/>
          </ac:graphicFrameMkLst>
        </pc:graphicFrameChg>
      </pc:sldChg>
      <pc:sldChg chg="modSp">
        <pc:chgData name="Steve Hord" userId="7478402321db30a2" providerId="LiveId" clId="{FAB8070D-8983-46E3-BD95-31A1080A9F4E}" dt="2020-04-23T17:59:04.999" v="141" actId="255"/>
        <pc:sldMkLst>
          <pc:docMk/>
          <pc:sldMk cId="3643016523" sldId="585"/>
        </pc:sldMkLst>
        <pc:graphicFrameChg chg="mod">
          <ac:chgData name="Steve Hord" userId="7478402321db30a2" providerId="LiveId" clId="{FAB8070D-8983-46E3-BD95-31A1080A9F4E}" dt="2020-04-23T17:59:04.999" v="141" actId="255"/>
          <ac:graphicFrameMkLst>
            <pc:docMk/>
            <pc:sldMk cId="3643016523" sldId="585"/>
            <ac:graphicFrameMk id="5" creationId="{F0795D0E-A453-40E0-903D-19103CAE4493}"/>
          </ac:graphicFrameMkLst>
        </pc:graphicFrameChg>
      </pc:sldChg>
      <pc:sldChg chg="modSp">
        <pc:chgData name="Steve Hord" userId="7478402321db30a2" providerId="LiveId" clId="{FAB8070D-8983-46E3-BD95-31A1080A9F4E}" dt="2020-04-23T18:16:11.493" v="149" actId="255"/>
        <pc:sldMkLst>
          <pc:docMk/>
          <pc:sldMk cId="505352680" sldId="587"/>
        </pc:sldMkLst>
        <pc:graphicFrameChg chg="mod">
          <ac:chgData name="Steve Hord" userId="7478402321db30a2" providerId="LiveId" clId="{FAB8070D-8983-46E3-BD95-31A1080A9F4E}" dt="2020-04-23T18:16:11.493" v="149" actId="255"/>
          <ac:graphicFrameMkLst>
            <pc:docMk/>
            <pc:sldMk cId="505352680" sldId="587"/>
            <ac:graphicFrameMk id="5" creationId="{10B34238-99A6-4138-808A-63D2829DAFF5}"/>
          </ac:graphicFrameMkLst>
        </pc:graphicFrameChg>
      </pc:sldChg>
      <pc:sldChg chg="modSp">
        <pc:chgData name="Steve Hord" userId="7478402321db30a2" providerId="LiveId" clId="{FAB8070D-8983-46E3-BD95-31A1080A9F4E}" dt="2020-04-23T17:34:23.751" v="113" actId="255"/>
        <pc:sldMkLst>
          <pc:docMk/>
          <pc:sldMk cId="2064303006" sldId="592"/>
        </pc:sldMkLst>
        <pc:graphicFrameChg chg="mod">
          <ac:chgData name="Steve Hord" userId="7478402321db30a2" providerId="LiveId" clId="{FAB8070D-8983-46E3-BD95-31A1080A9F4E}" dt="2020-04-23T17:34:23.751" v="113" actId="255"/>
          <ac:graphicFrameMkLst>
            <pc:docMk/>
            <pc:sldMk cId="2064303006" sldId="592"/>
            <ac:graphicFrameMk id="6" creationId="{40F1CCF2-70F1-42A8-8D40-9CE7C0C535D0}"/>
          </ac:graphicFrameMkLst>
        </pc:graphicFrameChg>
      </pc:sldChg>
      <pc:sldChg chg="modSp">
        <pc:chgData name="Steve Hord" userId="7478402321db30a2" providerId="LiveId" clId="{FAB8070D-8983-46E3-BD95-31A1080A9F4E}" dt="2020-04-23T18:11:19.121" v="144" actId="255"/>
        <pc:sldMkLst>
          <pc:docMk/>
          <pc:sldMk cId="1738984369" sldId="593"/>
        </pc:sldMkLst>
        <pc:graphicFrameChg chg="mod">
          <ac:chgData name="Steve Hord" userId="7478402321db30a2" providerId="LiveId" clId="{FAB8070D-8983-46E3-BD95-31A1080A9F4E}" dt="2020-04-23T18:11:19.121" v="144" actId="255"/>
          <ac:graphicFrameMkLst>
            <pc:docMk/>
            <pc:sldMk cId="1738984369" sldId="593"/>
            <ac:graphicFrameMk id="7" creationId="{07B58EF0-D344-4EB4-BD4B-728143E8897D}"/>
          </ac:graphicFrameMkLst>
        </pc:graphicFrameChg>
      </pc:sldChg>
      <pc:sldChg chg="modSp">
        <pc:chgData name="Steve Hord" userId="7478402321db30a2" providerId="LiveId" clId="{FAB8070D-8983-46E3-BD95-31A1080A9F4E}" dt="2020-04-23T17:45:08.110" v="125" actId="255"/>
        <pc:sldMkLst>
          <pc:docMk/>
          <pc:sldMk cId="2755635819" sldId="601"/>
        </pc:sldMkLst>
        <pc:graphicFrameChg chg="mod">
          <ac:chgData name="Steve Hord" userId="7478402321db30a2" providerId="LiveId" clId="{FAB8070D-8983-46E3-BD95-31A1080A9F4E}" dt="2020-04-23T17:45:08.110" v="125" actId="255"/>
          <ac:graphicFrameMkLst>
            <pc:docMk/>
            <pc:sldMk cId="2755635819" sldId="601"/>
            <ac:graphicFrameMk id="3" creationId="{B1177D7A-652A-43DC-9ADD-4C1FD68BD163}"/>
          </ac:graphicFrameMkLst>
        </pc:graphicFrameChg>
        <pc:graphicFrameChg chg="mod">
          <ac:chgData name="Steve Hord" userId="7478402321db30a2" providerId="LiveId" clId="{FAB8070D-8983-46E3-BD95-31A1080A9F4E}" dt="2020-04-23T17:44:57.753" v="124" actId="255"/>
          <ac:graphicFrameMkLst>
            <pc:docMk/>
            <pc:sldMk cId="2755635819" sldId="601"/>
            <ac:graphicFrameMk id="6" creationId="{CCAAFC70-617F-42FA-BFBD-4688C0B2E2C1}"/>
          </ac:graphicFrameMkLst>
        </pc:graphicFrameChg>
      </pc:sldChg>
      <pc:sldChg chg="modSp modNotesTx">
        <pc:chgData name="Steve Hord" userId="7478402321db30a2" providerId="LiveId" clId="{FAB8070D-8983-46E3-BD95-31A1080A9F4E}" dt="2020-04-23T17:42:26.197" v="116" actId="6549"/>
        <pc:sldMkLst>
          <pc:docMk/>
          <pc:sldMk cId="2751078201" sldId="603"/>
        </pc:sldMkLst>
        <pc:spChg chg="mod">
          <ac:chgData name="Steve Hord" userId="7478402321db30a2" providerId="LiveId" clId="{FAB8070D-8983-46E3-BD95-31A1080A9F4E}" dt="2020-04-23T17:42:12.340" v="115" actId="255"/>
          <ac:spMkLst>
            <pc:docMk/>
            <pc:sldMk cId="2751078201" sldId="603"/>
            <ac:spMk id="6" creationId="{9DF394B8-509D-442F-812A-176DF3790ACC}"/>
          </ac:spMkLst>
        </pc:spChg>
      </pc:sldChg>
      <pc:sldChg chg="modSp">
        <pc:chgData name="Steve Hord" userId="7478402321db30a2" providerId="LiveId" clId="{FAB8070D-8983-46E3-BD95-31A1080A9F4E}" dt="2020-04-23T17:49:16.498" v="128" actId="255"/>
        <pc:sldMkLst>
          <pc:docMk/>
          <pc:sldMk cId="2091928155" sldId="604"/>
        </pc:sldMkLst>
        <pc:graphicFrameChg chg="mod">
          <ac:chgData name="Steve Hord" userId="7478402321db30a2" providerId="LiveId" clId="{FAB8070D-8983-46E3-BD95-31A1080A9F4E}" dt="2020-04-23T17:49:16.498" v="128" actId="255"/>
          <ac:graphicFrameMkLst>
            <pc:docMk/>
            <pc:sldMk cId="2091928155" sldId="604"/>
            <ac:graphicFrameMk id="4" creationId="{B9667AFB-F08F-4E54-9639-D1DD822E1E1F}"/>
          </ac:graphicFrameMkLst>
        </pc:graphicFrameChg>
      </pc:sldChg>
      <pc:sldChg chg="modSp">
        <pc:chgData name="Steve Hord" userId="7478402321db30a2" providerId="LiveId" clId="{FAB8070D-8983-46E3-BD95-31A1080A9F4E}" dt="2020-04-23T17:57:08.085" v="138" actId="255"/>
        <pc:sldMkLst>
          <pc:docMk/>
          <pc:sldMk cId="3358814540" sldId="606"/>
        </pc:sldMkLst>
        <pc:graphicFrameChg chg="mod">
          <ac:chgData name="Steve Hord" userId="7478402321db30a2" providerId="LiveId" clId="{FAB8070D-8983-46E3-BD95-31A1080A9F4E}" dt="2020-04-23T17:57:08.085" v="138" actId="255"/>
          <ac:graphicFrameMkLst>
            <pc:docMk/>
            <pc:sldMk cId="3358814540" sldId="606"/>
            <ac:graphicFrameMk id="4" creationId="{E7AB80C7-83CA-4B7E-BD1C-D5A62039A47A}"/>
          </ac:graphicFrameMkLst>
        </pc:graphicFrameChg>
      </pc:sldChg>
      <pc:sldChg chg="modSp modNotesTx">
        <pc:chgData name="Steve Hord" userId="7478402321db30a2" providerId="LiveId" clId="{FAB8070D-8983-46E3-BD95-31A1080A9F4E}" dt="2020-04-23T17:51:53.674" v="131" actId="20577"/>
        <pc:sldMkLst>
          <pc:docMk/>
          <pc:sldMk cId="248324917" sldId="608"/>
        </pc:sldMkLst>
        <pc:graphicFrameChg chg="mod">
          <ac:chgData name="Steve Hord" userId="7478402321db30a2" providerId="LiveId" clId="{FAB8070D-8983-46E3-BD95-31A1080A9F4E}" dt="2020-04-23T17:51:13.229" v="130" actId="255"/>
          <ac:graphicFrameMkLst>
            <pc:docMk/>
            <pc:sldMk cId="248324917" sldId="608"/>
            <ac:graphicFrameMk id="4" creationId="{57FD7EE3-F5AB-49D2-8A53-BC428DAF0EDD}"/>
          </ac:graphicFrameMkLst>
        </pc:graphicFrameChg>
      </pc:sldChg>
      <pc:sldChg chg="modSp">
        <pc:chgData name="Steve Hord" userId="7478402321db30a2" providerId="LiveId" clId="{FAB8070D-8983-46E3-BD95-31A1080A9F4E}" dt="2020-04-23T17:12:56.734" v="66" actId="255"/>
        <pc:sldMkLst>
          <pc:docMk/>
          <pc:sldMk cId="4157009367" sldId="613"/>
        </pc:sldMkLst>
        <pc:graphicFrameChg chg="mod">
          <ac:chgData name="Steve Hord" userId="7478402321db30a2" providerId="LiveId" clId="{FAB8070D-8983-46E3-BD95-31A1080A9F4E}" dt="2020-04-23T17:12:56.734" v="66" actId="255"/>
          <ac:graphicFrameMkLst>
            <pc:docMk/>
            <pc:sldMk cId="4157009367" sldId="613"/>
            <ac:graphicFrameMk id="6" creationId="{051A79A1-377C-4C7A-B151-25C9B3668E35}"/>
          </ac:graphicFrameMkLst>
        </pc:graphicFrameChg>
      </pc:sldChg>
      <pc:sldChg chg="modSp">
        <pc:chgData name="Steve Hord" userId="7478402321db30a2" providerId="LiveId" clId="{FAB8070D-8983-46E3-BD95-31A1080A9F4E}" dt="2020-04-23T17:10:53.182" v="60" actId="255"/>
        <pc:sldMkLst>
          <pc:docMk/>
          <pc:sldMk cId="3612679356" sldId="614"/>
        </pc:sldMkLst>
        <pc:graphicFrameChg chg="mod">
          <ac:chgData name="Steve Hord" userId="7478402321db30a2" providerId="LiveId" clId="{FAB8070D-8983-46E3-BD95-31A1080A9F4E}" dt="2020-04-23T17:10:53.182" v="60" actId="255"/>
          <ac:graphicFrameMkLst>
            <pc:docMk/>
            <pc:sldMk cId="3612679356" sldId="614"/>
            <ac:graphicFrameMk id="6" creationId="{59048E88-1954-41B7-8B8B-D2ABDC6142D2}"/>
          </ac:graphicFrameMkLst>
        </pc:graphicFrameChg>
      </pc:sldChg>
      <pc:sldChg chg="modSp">
        <pc:chgData name="Steve Hord" userId="7478402321db30a2" providerId="LiveId" clId="{FAB8070D-8983-46E3-BD95-31A1080A9F4E}" dt="2020-04-23T16:50:06.298" v="44" actId="122"/>
        <pc:sldMkLst>
          <pc:docMk/>
          <pc:sldMk cId="793870729" sldId="617"/>
        </pc:sldMkLst>
        <pc:graphicFrameChg chg="mod">
          <ac:chgData name="Steve Hord" userId="7478402321db30a2" providerId="LiveId" clId="{FAB8070D-8983-46E3-BD95-31A1080A9F4E}" dt="2020-04-23T16:50:06.298" v="44" actId="122"/>
          <ac:graphicFrameMkLst>
            <pc:docMk/>
            <pc:sldMk cId="793870729" sldId="617"/>
            <ac:graphicFrameMk id="5" creationId="{AEA6DA8A-3FA6-41CB-BD83-973312B2FA9E}"/>
          </ac:graphicFrameMkLst>
        </pc:graphicFrameChg>
      </pc:sldChg>
      <pc:sldChg chg="modSp">
        <pc:chgData name="Steve Hord" userId="7478402321db30a2" providerId="LiveId" clId="{FAB8070D-8983-46E3-BD95-31A1080A9F4E}" dt="2020-04-23T16:54:49.553" v="57" actId="255"/>
        <pc:sldMkLst>
          <pc:docMk/>
          <pc:sldMk cId="2531563089" sldId="620"/>
        </pc:sldMkLst>
        <pc:graphicFrameChg chg="mod">
          <ac:chgData name="Steve Hord" userId="7478402321db30a2" providerId="LiveId" clId="{FAB8070D-8983-46E3-BD95-31A1080A9F4E}" dt="2020-04-23T16:53:46.064" v="55" actId="255"/>
          <ac:graphicFrameMkLst>
            <pc:docMk/>
            <pc:sldMk cId="2531563089" sldId="620"/>
            <ac:graphicFrameMk id="6" creationId="{5B8AE85A-49AB-4B7D-B64D-F4C588116D35}"/>
          </ac:graphicFrameMkLst>
        </pc:graphicFrameChg>
        <pc:graphicFrameChg chg="mod">
          <ac:chgData name="Steve Hord" userId="7478402321db30a2" providerId="LiveId" clId="{FAB8070D-8983-46E3-BD95-31A1080A9F4E}" dt="2020-04-23T16:54:49.553" v="57" actId="255"/>
          <ac:graphicFrameMkLst>
            <pc:docMk/>
            <pc:sldMk cId="2531563089" sldId="620"/>
            <ac:graphicFrameMk id="7" creationId="{07B58EF0-D344-4EB4-BD4B-728143E8897D}"/>
          </ac:graphicFrameMkLst>
        </pc:graphicFrameChg>
      </pc:sldChg>
      <pc:sldChg chg="modNotesTx">
        <pc:chgData name="Steve Hord" userId="7478402321db30a2" providerId="LiveId" clId="{FAB8070D-8983-46E3-BD95-31A1080A9F4E}" dt="2020-04-23T16:40:45.798" v="23" actId="20577"/>
        <pc:sldMkLst>
          <pc:docMk/>
          <pc:sldMk cId="3456630159" sldId="624"/>
        </pc:sldMkLst>
      </pc:sldChg>
      <pc:sldChg chg="modSp">
        <pc:chgData name="Steve Hord" userId="7478402321db30a2" providerId="LiveId" clId="{FAB8070D-8983-46E3-BD95-31A1080A9F4E}" dt="2020-04-23T17:15:02.289" v="68" actId="14100"/>
        <pc:sldMkLst>
          <pc:docMk/>
          <pc:sldMk cId="89027789" sldId="625"/>
        </pc:sldMkLst>
        <pc:picChg chg="mod">
          <ac:chgData name="Steve Hord" userId="7478402321db30a2" providerId="LiveId" clId="{FAB8070D-8983-46E3-BD95-31A1080A9F4E}" dt="2020-04-23T17:15:02.289" v="68" actId="14100"/>
          <ac:picMkLst>
            <pc:docMk/>
            <pc:sldMk cId="89027789" sldId="625"/>
            <ac:picMk id="12" creationId="{16ED6B3F-2F5E-4E48-9074-FDEA740AB14B}"/>
          </ac:picMkLst>
        </pc:picChg>
      </pc:sldChg>
      <pc:sldChg chg="modSp">
        <pc:chgData name="Steve Hord" userId="7478402321db30a2" providerId="LiveId" clId="{FAB8070D-8983-46E3-BD95-31A1080A9F4E}" dt="2020-04-23T18:32:12.652" v="187" actId="14100"/>
        <pc:sldMkLst>
          <pc:docMk/>
          <pc:sldMk cId="3423763271" sldId="633"/>
        </pc:sldMkLst>
        <pc:graphicFrameChg chg="mod">
          <ac:chgData name="Steve Hord" userId="7478402321db30a2" providerId="LiveId" clId="{FAB8070D-8983-46E3-BD95-31A1080A9F4E}" dt="2020-04-23T18:32:12.652" v="187" actId="14100"/>
          <ac:graphicFrameMkLst>
            <pc:docMk/>
            <pc:sldMk cId="3423763271" sldId="633"/>
            <ac:graphicFrameMk id="8" creationId="{6224B7FE-113D-4092-9734-989D4D500727}"/>
          </ac:graphicFrameMkLst>
        </pc:graphicFrameChg>
      </pc:sldChg>
      <pc:sldChg chg="modSp">
        <pc:chgData name="Steve Hord" userId="7478402321db30a2" providerId="LiveId" clId="{FAB8070D-8983-46E3-BD95-31A1080A9F4E}" dt="2020-04-23T18:33:21.817" v="190" actId="255"/>
        <pc:sldMkLst>
          <pc:docMk/>
          <pc:sldMk cId="1055122509" sldId="634"/>
        </pc:sldMkLst>
        <pc:graphicFrameChg chg="mod">
          <ac:chgData name="Steve Hord" userId="7478402321db30a2" providerId="LiveId" clId="{FAB8070D-8983-46E3-BD95-31A1080A9F4E}" dt="2020-04-23T18:33:21.817" v="190" actId="255"/>
          <ac:graphicFrameMkLst>
            <pc:docMk/>
            <pc:sldMk cId="1055122509" sldId="634"/>
            <ac:graphicFrameMk id="9" creationId="{0B1A060D-CA61-42B5-B72C-E757BD55294F}"/>
          </ac:graphicFrameMkLst>
        </pc:graphicFrameChg>
      </pc:sldChg>
      <pc:sldChg chg="modSp">
        <pc:chgData name="Steve Hord" userId="7478402321db30a2" providerId="LiveId" clId="{FAB8070D-8983-46E3-BD95-31A1080A9F4E}" dt="2020-04-23T18:34:26.539" v="192" actId="255"/>
        <pc:sldMkLst>
          <pc:docMk/>
          <pc:sldMk cId="3923205332" sldId="635"/>
        </pc:sldMkLst>
        <pc:graphicFrameChg chg="mod">
          <ac:chgData name="Steve Hord" userId="7478402321db30a2" providerId="LiveId" clId="{FAB8070D-8983-46E3-BD95-31A1080A9F4E}" dt="2020-04-23T18:34:26.539" v="192" actId="255"/>
          <ac:graphicFrameMkLst>
            <pc:docMk/>
            <pc:sldMk cId="3923205332" sldId="635"/>
            <ac:graphicFrameMk id="7" creationId="{1B63A864-F047-4DB6-A6C8-F0660F0B3C3A}"/>
          </ac:graphicFrameMkLst>
        </pc:graphicFrameChg>
      </pc:sldChg>
      <pc:sldChg chg="modNotesTx">
        <pc:chgData name="Steve Hord" userId="7478402321db30a2" providerId="LiveId" clId="{FAB8070D-8983-46E3-BD95-31A1080A9F4E}" dt="2020-04-23T18:35:26.177" v="193" actId="20577"/>
        <pc:sldMkLst>
          <pc:docMk/>
          <pc:sldMk cId="732309689" sldId="640"/>
        </pc:sldMkLst>
      </pc:sldChg>
      <pc:sldChg chg="modSp">
        <pc:chgData name="Steve Hord" userId="7478402321db30a2" providerId="LiveId" clId="{FAB8070D-8983-46E3-BD95-31A1080A9F4E}" dt="2020-04-23T18:36:28.877" v="238" actId="1035"/>
        <pc:sldMkLst>
          <pc:docMk/>
          <pc:sldMk cId="828906727" sldId="641"/>
        </pc:sldMkLst>
        <pc:spChg chg="mod">
          <ac:chgData name="Steve Hord" userId="7478402321db30a2" providerId="LiveId" clId="{FAB8070D-8983-46E3-BD95-31A1080A9F4E}" dt="2020-04-23T18:35:50.680" v="194" actId="255"/>
          <ac:spMkLst>
            <pc:docMk/>
            <pc:sldMk cId="828906727" sldId="641"/>
            <ac:spMk id="7" creationId="{0973A40F-1EA5-46DE-9161-A767AF857C40}"/>
          </ac:spMkLst>
        </pc:spChg>
        <pc:grpChg chg="mod">
          <ac:chgData name="Steve Hord" userId="7478402321db30a2" providerId="LiveId" clId="{FAB8070D-8983-46E3-BD95-31A1080A9F4E}" dt="2020-04-23T18:35:59.906" v="195" actId="1076"/>
          <ac:grpSpMkLst>
            <pc:docMk/>
            <pc:sldMk cId="828906727" sldId="641"/>
            <ac:grpSpMk id="4" creationId="{CE298ACC-3E39-4F61-9FC1-5867F7D14CFE}"/>
          </ac:grpSpMkLst>
        </pc:grpChg>
        <pc:picChg chg="mod">
          <ac:chgData name="Steve Hord" userId="7478402321db30a2" providerId="LiveId" clId="{FAB8070D-8983-46E3-BD95-31A1080A9F4E}" dt="2020-04-23T18:36:28.877" v="238" actId="1035"/>
          <ac:picMkLst>
            <pc:docMk/>
            <pc:sldMk cId="828906727" sldId="641"/>
            <ac:picMk id="3" creationId="{5E3231B2-91F8-4C69-B10E-A707618487F2}"/>
          </ac:picMkLst>
        </pc:picChg>
      </pc:sldChg>
      <pc:sldChg chg="modSp">
        <pc:chgData name="Steve Hord" userId="7478402321db30a2" providerId="LiveId" clId="{FAB8070D-8983-46E3-BD95-31A1080A9F4E}" dt="2020-04-23T18:30:21.660" v="180" actId="255"/>
        <pc:sldMkLst>
          <pc:docMk/>
          <pc:sldMk cId="1200516813" sldId="646"/>
        </pc:sldMkLst>
        <pc:graphicFrameChg chg="mod">
          <ac:chgData name="Steve Hord" userId="7478402321db30a2" providerId="LiveId" clId="{FAB8070D-8983-46E3-BD95-31A1080A9F4E}" dt="2020-04-23T18:30:21.660" v="180" actId="255"/>
          <ac:graphicFrameMkLst>
            <pc:docMk/>
            <pc:sldMk cId="1200516813" sldId="646"/>
            <ac:graphicFrameMk id="13" creationId="{08096E22-51FB-4FCA-9558-201819AB8825}"/>
          </ac:graphicFrameMkLst>
        </pc:graphicFrameChg>
      </pc:sldChg>
      <pc:sldChg chg="modNotesTx">
        <pc:chgData name="Steve Hord" userId="7478402321db30a2" providerId="LiveId" clId="{FAB8070D-8983-46E3-BD95-31A1080A9F4E}" dt="2020-04-23T18:26:45.696" v="177" actId="20577"/>
        <pc:sldMkLst>
          <pc:docMk/>
          <pc:sldMk cId="784210373" sldId="648"/>
        </pc:sldMkLst>
      </pc:sldChg>
      <pc:sldChg chg="modNotesTx">
        <pc:chgData name="Steve Hord" userId="7478402321db30a2" providerId="LiveId" clId="{FAB8070D-8983-46E3-BD95-31A1080A9F4E}" dt="2020-04-23T17:42:54.213" v="118" actId="114"/>
        <pc:sldMkLst>
          <pc:docMk/>
          <pc:sldMk cId="2059970586" sldId="652"/>
        </pc:sldMkLst>
      </pc:sldChg>
      <pc:sldChg chg="modSp">
        <pc:chgData name="Steve Hord" userId="7478402321db30a2" providerId="LiveId" clId="{FAB8070D-8983-46E3-BD95-31A1080A9F4E}" dt="2020-04-23T17:18:53.656" v="73" actId="255"/>
        <pc:sldMkLst>
          <pc:docMk/>
          <pc:sldMk cId="3998996383" sldId="653"/>
        </pc:sldMkLst>
        <pc:graphicFrameChg chg="mod">
          <ac:chgData name="Steve Hord" userId="7478402321db30a2" providerId="LiveId" clId="{FAB8070D-8983-46E3-BD95-31A1080A9F4E}" dt="2020-04-23T17:18:53.656" v="73" actId="255"/>
          <ac:graphicFrameMkLst>
            <pc:docMk/>
            <pc:sldMk cId="3998996383" sldId="653"/>
            <ac:graphicFrameMk id="5" creationId="{44B17301-66B9-46C5-B710-C2BFBFF70B60}"/>
          </ac:graphicFrameMkLst>
        </pc:graphicFrameChg>
      </pc:sldChg>
    </pc:docChg>
  </pc:docChgLst>
  <pc:docChgLst>
    <pc:chgData name="Batuhan Yildiz" userId="90f344fc-4655-4923-aeaf-697bba59c1a7" providerId="ADAL" clId="{3D1C8219-AFE0-49E7-ACE8-0DF3BAF14B87}"/>
    <pc:docChg chg="undo custSel addSld modSld">
      <pc:chgData name="Batuhan Yildiz" userId="90f344fc-4655-4923-aeaf-697bba59c1a7" providerId="ADAL" clId="{3D1C8219-AFE0-49E7-ACE8-0DF3BAF14B87}" dt="2020-02-10T20:38:54.762" v="28" actId="21"/>
      <pc:docMkLst>
        <pc:docMk/>
      </pc:docMkLst>
      <pc:sldChg chg="modSp mod">
        <pc:chgData name="Batuhan Yildiz" userId="90f344fc-4655-4923-aeaf-697bba59c1a7" providerId="ADAL" clId="{3D1C8219-AFE0-49E7-ACE8-0DF3BAF14B87}" dt="2020-02-10T20:37:31.467" v="24" actId="1076"/>
        <pc:sldMkLst>
          <pc:docMk/>
          <pc:sldMk cId="3235270007" sldId="257"/>
        </pc:sldMkLst>
        <pc:spChg chg="mod">
          <ac:chgData name="Batuhan Yildiz" userId="90f344fc-4655-4923-aeaf-697bba59c1a7" providerId="ADAL" clId="{3D1C8219-AFE0-49E7-ACE8-0DF3BAF14B87}" dt="2020-02-10T20:37:31.467" v="24" actId="1076"/>
          <ac:spMkLst>
            <pc:docMk/>
            <pc:sldMk cId="3235270007" sldId="257"/>
            <ac:spMk id="2" creationId="{EB67312A-9819-43C6-8D84-D9136E6CFFCC}"/>
          </ac:spMkLst>
        </pc:spChg>
      </pc:sldChg>
      <pc:sldChg chg="modSp mod">
        <pc:chgData name="Batuhan Yildiz" userId="90f344fc-4655-4923-aeaf-697bba59c1a7" providerId="ADAL" clId="{3D1C8219-AFE0-49E7-ACE8-0DF3BAF14B87}" dt="2020-02-05T03:23:45.291" v="2" actId="20577"/>
        <pc:sldMkLst>
          <pc:docMk/>
          <pc:sldMk cId="1196121053" sldId="260"/>
        </pc:sldMkLst>
        <pc:spChg chg="mod">
          <ac:chgData name="Batuhan Yildiz" userId="90f344fc-4655-4923-aeaf-697bba59c1a7" providerId="ADAL" clId="{3D1C8219-AFE0-49E7-ACE8-0DF3BAF14B87}" dt="2020-02-05T03:23:39.867" v="0"/>
          <ac:spMkLst>
            <pc:docMk/>
            <pc:sldMk cId="1196121053" sldId="260"/>
            <ac:spMk id="4" creationId="{5D85DF47-300F-4085-B774-DDE734B96F99}"/>
          </ac:spMkLst>
        </pc:spChg>
        <pc:spChg chg="mod">
          <ac:chgData name="Batuhan Yildiz" userId="90f344fc-4655-4923-aeaf-697bba59c1a7" providerId="ADAL" clId="{3D1C8219-AFE0-49E7-ACE8-0DF3BAF14B87}" dt="2020-02-05T03:23:45.291" v="2" actId="20577"/>
          <ac:spMkLst>
            <pc:docMk/>
            <pc:sldMk cId="1196121053" sldId="260"/>
            <ac:spMk id="5" creationId="{806AE5AE-CAF0-4BF4-872E-C97AF8874A6F}"/>
          </ac:spMkLst>
        </pc:spChg>
      </pc:sldChg>
      <pc:sldChg chg="modSp">
        <pc:chgData name="Batuhan Yildiz" userId="90f344fc-4655-4923-aeaf-697bba59c1a7" providerId="ADAL" clId="{3D1C8219-AFE0-49E7-ACE8-0DF3BAF14B87}" dt="2020-02-05T03:24:21.668" v="15"/>
        <pc:sldMkLst>
          <pc:docMk/>
          <pc:sldMk cId="4083746080" sldId="561"/>
        </pc:sldMkLst>
        <pc:spChg chg="mod">
          <ac:chgData name="Batuhan Yildiz" userId="90f344fc-4655-4923-aeaf-697bba59c1a7" providerId="ADAL" clId="{3D1C8219-AFE0-49E7-ACE8-0DF3BAF14B87}" dt="2020-02-05T03:24:21.668" v="15"/>
          <ac:spMkLst>
            <pc:docMk/>
            <pc:sldMk cId="4083746080" sldId="561"/>
            <ac:spMk id="2" creationId="{74CD77A6-E28D-4D8D-9FE5-64ADAA827AC9}"/>
          </ac:spMkLst>
        </pc:spChg>
      </pc:sldChg>
      <pc:sldChg chg="modSp mod">
        <pc:chgData name="Batuhan Yildiz" userId="90f344fc-4655-4923-aeaf-697bba59c1a7" providerId="ADAL" clId="{3D1C8219-AFE0-49E7-ACE8-0DF3BAF14B87}" dt="2020-02-05T03:24:04.704" v="14" actId="20577"/>
        <pc:sldMkLst>
          <pc:docMk/>
          <pc:sldMk cId="1615560134" sldId="562"/>
        </pc:sldMkLst>
        <pc:spChg chg="mod">
          <ac:chgData name="Batuhan Yildiz" userId="90f344fc-4655-4923-aeaf-697bba59c1a7" providerId="ADAL" clId="{3D1C8219-AFE0-49E7-ACE8-0DF3BAF14B87}" dt="2020-02-05T03:24:04.704" v="14" actId="20577"/>
          <ac:spMkLst>
            <pc:docMk/>
            <pc:sldMk cId="1615560134" sldId="562"/>
            <ac:spMk id="3" creationId="{859B2BAE-A383-4E74-B3CF-9AC64DA11727}"/>
          </ac:spMkLst>
        </pc:spChg>
      </pc:sldChg>
      <pc:sldChg chg="addSp delSp modSp mod">
        <pc:chgData name="Batuhan Yildiz" userId="90f344fc-4655-4923-aeaf-697bba59c1a7" providerId="ADAL" clId="{3D1C8219-AFE0-49E7-ACE8-0DF3BAF14B87}" dt="2020-02-10T20:38:54.762" v="28" actId="21"/>
        <pc:sldMkLst>
          <pc:docMk/>
          <pc:sldMk cId="3735096506" sldId="563"/>
        </pc:sldMkLst>
        <pc:graphicFrameChg chg="add del mod">
          <ac:chgData name="Batuhan Yildiz" userId="90f344fc-4655-4923-aeaf-697bba59c1a7" providerId="ADAL" clId="{3D1C8219-AFE0-49E7-ACE8-0DF3BAF14B87}" dt="2020-02-10T20:38:54.762" v="28" actId="21"/>
          <ac:graphicFrameMkLst>
            <pc:docMk/>
            <pc:sldMk cId="3735096506" sldId="563"/>
            <ac:graphicFrameMk id="3" creationId="{9484E1FE-7534-495E-863C-657A46F5E628}"/>
          </ac:graphicFrameMkLst>
        </pc:graphicFrameChg>
      </pc:sldChg>
      <pc:sldChg chg="modSp">
        <pc:chgData name="Batuhan Yildiz" userId="90f344fc-4655-4923-aeaf-697bba59c1a7" providerId="ADAL" clId="{3D1C8219-AFE0-49E7-ACE8-0DF3BAF14B87}" dt="2020-02-05T03:24:34.907" v="16"/>
        <pc:sldMkLst>
          <pc:docMk/>
          <pc:sldMk cId="289400407" sldId="564"/>
        </pc:sldMkLst>
        <pc:spChg chg="mod">
          <ac:chgData name="Batuhan Yildiz" userId="90f344fc-4655-4923-aeaf-697bba59c1a7" providerId="ADAL" clId="{3D1C8219-AFE0-49E7-ACE8-0DF3BAF14B87}" dt="2020-02-05T03:24:34.907" v="16"/>
          <ac:spMkLst>
            <pc:docMk/>
            <pc:sldMk cId="289400407" sldId="564"/>
            <ac:spMk id="2" creationId="{74CD77A6-E28D-4D8D-9FE5-64ADAA827AC9}"/>
          </ac:spMkLst>
        </pc:spChg>
      </pc:sldChg>
      <pc:sldChg chg="modSp">
        <pc:chgData name="Batuhan Yildiz" userId="90f344fc-4655-4923-aeaf-697bba59c1a7" providerId="ADAL" clId="{3D1C8219-AFE0-49E7-ACE8-0DF3BAF14B87}" dt="2020-02-05T03:24:53.858" v="17"/>
        <pc:sldMkLst>
          <pc:docMk/>
          <pc:sldMk cId="57495843" sldId="571"/>
        </pc:sldMkLst>
        <pc:spChg chg="mod">
          <ac:chgData name="Batuhan Yildiz" userId="90f344fc-4655-4923-aeaf-697bba59c1a7" providerId="ADAL" clId="{3D1C8219-AFE0-49E7-ACE8-0DF3BAF14B87}" dt="2020-02-05T03:24:53.858" v="17"/>
          <ac:spMkLst>
            <pc:docMk/>
            <pc:sldMk cId="57495843" sldId="571"/>
            <ac:spMk id="2" creationId="{74CD77A6-E28D-4D8D-9FE5-64ADAA827AC9}"/>
          </ac:spMkLst>
        </pc:spChg>
      </pc:sldChg>
      <pc:sldChg chg="add">
        <pc:chgData name="Batuhan Yildiz" userId="90f344fc-4655-4923-aeaf-697bba59c1a7" providerId="ADAL" clId="{3D1C8219-AFE0-49E7-ACE8-0DF3BAF14B87}" dt="2020-02-06T02:42:56.184" v="18"/>
        <pc:sldMkLst>
          <pc:docMk/>
          <pc:sldMk cId="3372985199" sldId="578"/>
        </pc:sldMkLst>
      </pc:sldChg>
      <pc:sldChg chg="add">
        <pc:chgData name="Batuhan Yildiz" userId="90f344fc-4655-4923-aeaf-697bba59c1a7" providerId="ADAL" clId="{3D1C8219-AFE0-49E7-ACE8-0DF3BAF14B87}" dt="2020-02-06T02:43:04.423" v="19"/>
        <pc:sldMkLst>
          <pc:docMk/>
          <pc:sldMk cId="3124974123" sldId="579"/>
        </pc:sldMkLst>
      </pc:sldChg>
      <pc:sldChg chg="add">
        <pc:chgData name="Batuhan Yildiz" userId="90f344fc-4655-4923-aeaf-697bba59c1a7" providerId="ADAL" clId="{3D1C8219-AFE0-49E7-ACE8-0DF3BAF14B87}" dt="2020-02-06T02:43:14.447" v="20"/>
        <pc:sldMkLst>
          <pc:docMk/>
          <pc:sldMk cId="856686348" sldId="580"/>
        </pc:sldMkLst>
      </pc:sldChg>
    </pc:docChg>
  </pc:docChgLst>
  <pc:docChgLst>
    <pc:chgData name="Susan Van Eyck" userId="662afd01-5edf-4fbb-b0e2-2ead5b38d415" providerId="ADAL" clId="{8CD114A1-4E37-472B-84CB-58CF44F01DB8}"/>
    <pc:docChg chg="undo custSel addSld delSld modSld sldOrd modSection">
      <pc:chgData name="Susan Van Eyck" userId="662afd01-5edf-4fbb-b0e2-2ead5b38d415" providerId="ADAL" clId="{8CD114A1-4E37-472B-84CB-58CF44F01DB8}" dt="2020-03-06T22:27:36.539" v="27279" actId="20577"/>
      <pc:docMkLst>
        <pc:docMk/>
      </pc:docMkLst>
      <pc:sldChg chg="addSp delSp modSp mod modNotesTx">
        <pc:chgData name="Susan Van Eyck" userId="662afd01-5edf-4fbb-b0e2-2ead5b38d415" providerId="ADAL" clId="{8CD114A1-4E37-472B-84CB-58CF44F01DB8}" dt="2020-03-06T22:21:26.507" v="27202" actId="20577"/>
        <pc:sldMkLst>
          <pc:docMk/>
          <pc:sldMk cId="3235270007" sldId="257"/>
        </pc:sldMkLst>
        <pc:spChg chg="mod">
          <ac:chgData name="Susan Van Eyck" userId="662afd01-5edf-4fbb-b0e2-2ead5b38d415" providerId="ADAL" clId="{8CD114A1-4E37-472B-84CB-58CF44F01DB8}" dt="2020-03-04T01:00:35.636" v="12583" actId="20577"/>
          <ac:spMkLst>
            <pc:docMk/>
            <pc:sldMk cId="3235270007" sldId="257"/>
            <ac:spMk id="2" creationId="{EB67312A-9819-43C6-8D84-D9136E6CFFCC}"/>
          </ac:spMkLst>
        </pc:spChg>
        <pc:spChg chg="mod">
          <ac:chgData name="Susan Van Eyck" userId="662afd01-5edf-4fbb-b0e2-2ead5b38d415" providerId="ADAL" clId="{8CD114A1-4E37-472B-84CB-58CF44F01DB8}" dt="2020-03-04T01:16:41.143" v="13352" actId="20577"/>
          <ac:spMkLst>
            <pc:docMk/>
            <pc:sldMk cId="3235270007" sldId="257"/>
            <ac:spMk id="4" creationId="{F3616A99-090F-45E1-9334-58D58B148205}"/>
          </ac:spMkLst>
        </pc:spChg>
        <pc:spChg chg="add mod">
          <ac:chgData name="Susan Van Eyck" userId="662afd01-5edf-4fbb-b0e2-2ead5b38d415" providerId="ADAL" clId="{8CD114A1-4E37-472B-84CB-58CF44F01DB8}" dt="2020-03-04T01:11:07.854" v="13198" actId="14100"/>
          <ac:spMkLst>
            <pc:docMk/>
            <pc:sldMk cId="3235270007" sldId="257"/>
            <ac:spMk id="5" creationId="{063D22EF-0FAC-4F52-A8E7-D87FFACBB6CA}"/>
          </ac:spMkLst>
        </pc:spChg>
        <pc:spChg chg="add mod">
          <ac:chgData name="Susan Van Eyck" userId="662afd01-5edf-4fbb-b0e2-2ead5b38d415" providerId="ADAL" clId="{8CD114A1-4E37-472B-84CB-58CF44F01DB8}" dt="2020-03-04T01:11:36.994" v="13214" actId="14100"/>
          <ac:spMkLst>
            <pc:docMk/>
            <pc:sldMk cId="3235270007" sldId="257"/>
            <ac:spMk id="6" creationId="{3C1D6757-30EC-4197-A1CE-255282DA03FB}"/>
          </ac:spMkLst>
        </pc:spChg>
        <pc:spChg chg="add mod ord">
          <ac:chgData name="Susan Van Eyck" userId="662afd01-5edf-4fbb-b0e2-2ead5b38d415" providerId="ADAL" clId="{8CD114A1-4E37-472B-84CB-58CF44F01DB8}" dt="2020-03-03T14:43:17.303" v="9778" actId="164"/>
          <ac:spMkLst>
            <pc:docMk/>
            <pc:sldMk cId="3235270007" sldId="257"/>
            <ac:spMk id="7" creationId="{AE398C95-BFB1-4B02-A6EC-7F8644204ABA}"/>
          </ac:spMkLst>
        </pc:spChg>
        <pc:spChg chg="add mod">
          <ac:chgData name="Susan Van Eyck" userId="662afd01-5edf-4fbb-b0e2-2ead5b38d415" providerId="ADAL" clId="{8CD114A1-4E37-472B-84CB-58CF44F01DB8}" dt="2020-03-04T01:11:52.528" v="13216" actId="1076"/>
          <ac:spMkLst>
            <pc:docMk/>
            <pc:sldMk cId="3235270007" sldId="257"/>
            <ac:spMk id="8" creationId="{2042FE55-1A0C-467D-B410-9145965805E5}"/>
          </ac:spMkLst>
        </pc:spChg>
        <pc:spChg chg="add mod">
          <ac:chgData name="Susan Van Eyck" userId="662afd01-5edf-4fbb-b0e2-2ead5b38d415" providerId="ADAL" clId="{8CD114A1-4E37-472B-84CB-58CF44F01DB8}" dt="2020-03-04T01:11:33.624" v="13213" actId="14100"/>
          <ac:spMkLst>
            <pc:docMk/>
            <pc:sldMk cId="3235270007" sldId="257"/>
            <ac:spMk id="9" creationId="{2CD26E3D-A698-4CFD-AD33-CC543F940D66}"/>
          </ac:spMkLst>
        </pc:spChg>
        <pc:spChg chg="add mod">
          <ac:chgData name="Susan Van Eyck" userId="662afd01-5edf-4fbb-b0e2-2ead5b38d415" providerId="ADAL" clId="{8CD114A1-4E37-472B-84CB-58CF44F01DB8}" dt="2020-03-03T14:43:17.303" v="9778" actId="164"/>
          <ac:spMkLst>
            <pc:docMk/>
            <pc:sldMk cId="3235270007" sldId="257"/>
            <ac:spMk id="10" creationId="{DE6FC4A7-7256-45DE-AF60-F9910431DE9B}"/>
          </ac:spMkLst>
        </pc:spChg>
        <pc:spChg chg="add mod">
          <ac:chgData name="Susan Van Eyck" userId="662afd01-5edf-4fbb-b0e2-2ead5b38d415" providerId="ADAL" clId="{8CD114A1-4E37-472B-84CB-58CF44F01DB8}" dt="2020-03-04T01:11:22.650" v="13211" actId="1037"/>
          <ac:spMkLst>
            <pc:docMk/>
            <pc:sldMk cId="3235270007" sldId="257"/>
            <ac:spMk id="11" creationId="{4C1DBF06-3742-493B-AC19-D75F0CE96B27}"/>
          </ac:spMkLst>
        </pc:spChg>
        <pc:spChg chg="add del">
          <ac:chgData name="Susan Van Eyck" userId="662afd01-5edf-4fbb-b0e2-2ead5b38d415" providerId="ADAL" clId="{8CD114A1-4E37-472B-84CB-58CF44F01DB8}" dt="2020-03-03T14:41:14.150" v="9762"/>
          <ac:spMkLst>
            <pc:docMk/>
            <pc:sldMk cId="3235270007" sldId="257"/>
            <ac:spMk id="12" creationId="{61F2B4F0-77AD-45FC-9060-8BA175A57ACB}"/>
          </ac:spMkLst>
        </pc:spChg>
        <pc:spChg chg="add mod">
          <ac:chgData name="Susan Van Eyck" userId="662afd01-5edf-4fbb-b0e2-2ead5b38d415" providerId="ADAL" clId="{8CD114A1-4E37-472B-84CB-58CF44F01DB8}" dt="2020-03-04T01:11:30.038" v="13212" actId="14100"/>
          <ac:spMkLst>
            <pc:docMk/>
            <pc:sldMk cId="3235270007" sldId="257"/>
            <ac:spMk id="13" creationId="{299B3597-7322-4B4C-89BD-1B1865818001}"/>
          </ac:spMkLst>
        </pc:spChg>
        <pc:grpChg chg="add mod">
          <ac:chgData name="Susan Van Eyck" userId="662afd01-5edf-4fbb-b0e2-2ead5b38d415" providerId="ADAL" clId="{8CD114A1-4E37-472B-84CB-58CF44F01DB8}" dt="2020-03-04T01:16:27.004" v="13349" actId="1076"/>
          <ac:grpSpMkLst>
            <pc:docMk/>
            <pc:sldMk cId="3235270007" sldId="257"/>
            <ac:grpSpMk id="14" creationId="{296867B8-2CB1-4CE0-B1D9-2B059F15B189}"/>
          </ac:grpSpMkLst>
        </pc:grpChg>
      </pc:sldChg>
      <pc:sldChg chg="modSp mod">
        <pc:chgData name="Susan Van Eyck" userId="662afd01-5edf-4fbb-b0e2-2ead5b38d415" providerId="ADAL" clId="{8CD114A1-4E37-472B-84CB-58CF44F01DB8}" dt="2020-03-04T19:32:55.209" v="19953" actId="20577"/>
        <pc:sldMkLst>
          <pc:docMk/>
          <pc:sldMk cId="4267675391" sldId="531"/>
        </pc:sldMkLst>
        <pc:spChg chg="mod">
          <ac:chgData name="Susan Van Eyck" userId="662afd01-5edf-4fbb-b0e2-2ead5b38d415" providerId="ADAL" clId="{8CD114A1-4E37-472B-84CB-58CF44F01DB8}" dt="2020-03-04T19:32:55.209" v="19953" actId="20577"/>
          <ac:spMkLst>
            <pc:docMk/>
            <pc:sldMk cId="4267675391" sldId="531"/>
            <ac:spMk id="6" creationId="{637E159C-9ACF-48AE-927A-D5FB13695C7F}"/>
          </ac:spMkLst>
        </pc:spChg>
      </pc:sldChg>
      <pc:sldChg chg="modSp mod modNotesTx">
        <pc:chgData name="Susan Van Eyck" userId="662afd01-5edf-4fbb-b0e2-2ead5b38d415" providerId="ADAL" clId="{8CD114A1-4E37-472B-84CB-58CF44F01DB8}" dt="2020-03-06T22:21:06.117" v="27196" actId="6549"/>
        <pc:sldMkLst>
          <pc:docMk/>
          <pc:sldMk cId="2621600474" sldId="534"/>
        </pc:sldMkLst>
        <pc:spChg chg="mod">
          <ac:chgData name="Susan Van Eyck" userId="662afd01-5edf-4fbb-b0e2-2ead5b38d415" providerId="ADAL" clId="{8CD114A1-4E37-472B-84CB-58CF44F01DB8}" dt="2020-03-04T14:35:38.362" v="18953" actId="20577"/>
          <ac:spMkLst>
            <pc:docMk/>
            <pc:sldMk cId="2621600474" sldId="534"/>
            <ac:spMk id="5" creationId="{55182462-DFDF-4D48-A92C-42FD52821C4E}"/>
          </ac:spMkLst>
        </pc:spChg>
      </pc:sldChg>
      <pc:sldChg chg="modSp del mod">
        <pc:chgData name="Susan Van Eyck" userId="662afd01-5edf-4fbb-b0e2-2ead5b38d415" providerId="ADAL" clId="{8CD114A1-4E37-472B-84CB-58CF44F01DB8}" dt="2020-03-03T16:35:26.784" v="11156" actId="47"/>
        <pc:sldMkLst>
          <pc:docMk/>
          <pc:sldMk cId="1861621179" sldId="535"/>
        </pc:sldMkLst>
        <pc:spChg chg="mod">
          <ac:chgData name="Susan Van Eyck" userId="662afd01-5edf-4fbb-b0e2-2ead5b38d415" providerId="ADAL" clId="{8CD114A1-4E37-472B-84CB-58CF44F01DB8}" dt="2020-03-03T16:35:21.630" v="11155" actId="20577"/>
          <ac:spMkLst>
            <pc:docMk/>
            <pc:sldMk cId="1861621179" sldId="535"/>
            <ac:spMk id="2" creationId="{BC57B38C-8413-4861-A4F5-7DF656AEAD0D}"/>
          </ac:spMkLst>
        </pc:spChg>
      </pc:sldChg>
      <pc:sldChg chg="modSp modNotesTx">
        <pc:chgData name="Susan Van Eyck" userId="662afd01-5edf-4fbb-b0e2-2ead5b38d415" providerId="ADAL" clId="{8CD114A1-4E37-472B-84CB-58CF44F01DB8}" dt="2020-03-04T19:48:25.663" v="21709" actId="6549"/>
        <pc:sldMkLst>
          <pc:docMk/>
          <pc:sldMk cId="3735096506" sldId="563"/>
        </pc:sldMkLst>
        <pc:graphicFrameChg chg="mod">
          <ac:chgData name="Susan Van Eyck" userId="662afd01-5edf-4fbb-b0e2-2ead5b38d415" providerId="ADAL" clId="{8CD114A1-4E37-472B-84CB-58CF44F01DB8}" dt="2020-03-04T19:39:52.518" v="20474" actId="20577"/>
          <ac:graphicFrameMkLst>
            <pc:docMk/>
            <pc:sldMk cId="3735096506" sldId="563"/>
            <ac:graphicFrameMk id="3" creationId="{9484E1FE-7534-495E-863C-657A46F5E628}"/>
          </ac:graphicFrameMkLst>
        </pc:graphicFrameChg>
      </pc:sldChg>
      <pc:sldChg chg="modSp mod">
        <pc:chgData name="Susan Van Eyck" userId="662afd01-5edf-4fbb-b0e2-2ead5b38d415" providerId="ADAL" clId="{8CD114A1-4E37-472B-84CB-58CF44F01DB8}" dt="2020-03-06T21:53:05.527" v="25073" actId="6549"/>
        <pc:sldMkLst>
          <pc:docMk/>
          <pc:sldMk cId="2034824179" sldId="565"/>
        </pc:sldMkLst>
        <pc:spChg chg="mod">
          <ac:chgData name="Susan Van Eyck" userId="662afd01-5edf-4fbb-b0e2-2ead5b38d415" providerId="ADAL" clId="{8CD114A1-4E37-472B-84CB-58CF44F01DB8}" dt="2020-03-06T21:53:05.527" v="25073" actId="6549"/>
          <ac:spMkLst>
            <pc:docMk/>
            <pc:sldMk cId="2034824179" sldId="565"/>
            <ac:spMk id="5" creationId="{55182462-DFDF-4D48-A92C-42FD52821C4E}"/>
          </ac:spMkLst>
        </pc:spChg>
      </pc:sldChg>
      <pc:sldChg chg="addSp delSp modSp mod">
        <pc:chgData name="Susan Van Eyck" userId="662afd01-5edf-4fbb-b0e2-2ead5b38d415" providerId="ADAL" clId="{8CD114A1-4E37-472B-84CB-58CF44F01DB8}" dt="2020-03-06T21:42:59.680" v="24591" actId="20577"/>
        <pc:sldMkLst>
          <pc:docMk/>
          <pc:sldMk cId="4221783869" sldId="566"/>
        </pc:sldMkLst>
        <pc:spChg chg="mod">
          <ac:chgData name="Susan Van Eyck" userId="662afd01-5edf-4fbb-b0e2-2ead5b38d415" providerId="ADAL" clId="{8CD114A1-4E37-472B-84CB-58CF44F01DB8}" dt="2020-03-01T17:41:10.202" v="5723" actId="20577"/>
          <ac:spMkLst>
            <pc:docMk/>
            <pc:sldMk cId="4221783869" sldId="566"/>
            <ac:spMk id="2" creationId="{EB67312A-9819-43C6-8D84-D9136E6CFFCC}"/>
          </ac:spMkLst>
        </pc:spChg>
        <pc:spChg chg="del mod">
          <ac:chgData name="Susan Van Eyck" userId="662afd01-5edf-4fbb-b0e2-2ead5b38d415" providerId="ADAL" clId="{8CD114A1-4E37-472B-84CB-58CF44F01DB8}" dt="2020-03-02T23:23:41.061" v="9420" actId="12084"/>
          <ac:spMkLst>
            <pc:docMk/>
            <pc:sldMk cId="4221783869" sldId="566"/>
            <ac:spMk id="4" creationId="{F3616A99-090F-45E1-9334-58D58B148205}"/>
          </ac:spMkLst>
        </pc:spChg>
        <pc:graphicFrameChg chg="add mod">
          <ac:chgData name="Susan Van Eyck" userId="662afd01-5edf-4fbb-b0e2-2ead5b38d415" providerId="ADAL" clId="{8CD114A1-4E37-472B-84CB-58CF44F01DB8}" dt="2020-03-06T21:42:59.680" v="24591" actId="20577"/>
          <ac:graphicFrameMkLst>
            <pc:docMk/>
            <pc:sldMk cId="4221783869" sldId="566"/>
            <ac:graphicFrameMk id="5" creationId="{D9406A8A-972C-425D-A080-B2787ED166AE}"/>
          </ac:graphicFrameMkLst>
        </pc:graphicFrameChg>
      </pc:sldChg>
      <pc:sldChg chg="modSp mod modNotesTx">
        <pc:chgData name="Susan Van Eyck" userId="662afd01-5edf-4fbb-b0e2-2ead5b38d415" providerId="ADAL" clId="{8CD114A1-4E37-472B-84CB-58CF44F01DB8}" dt="2020-03-06T21:38:12.311" v="24417" actId="20577"/>
        <pc:sldMkLst>
          <pc:docMk/>
          <pc:sldMk cId="670385602" sldId="567"/>
        </pc:sldMkLst>
        <pc:spChg chg="mod">
          <ac:chgData name="Susan Van Eyck" userId="662afd01-5edf-4fbb-b0e2-2ead5b38d415" providerId="ADAL" clId="{8CD114A1-4E37-472B-84CB-58CF44F01DB8}" dt="2020-03-06T21:38:12.311" v="24417" actId="20577"/>
          <ac:spMkLst>
            <pc:docMk/>
            <pc:sldMk cId="670385602" sldId="567"/>
            <ac:spMk id="6" creationId="{637E159C-9ACF-48AE-927A-D5FB13695C7F}"/>
          </ac:spMkLst>
        </pc:spChg>
      </pc:sldChg>
      <pc:sldChg chg="del">
        <pc:chgData name="Susan Van Eyck" userId="662afd01-5edf-4fbb-b0e2-2ead5b38d415" providerId="ADAL" clId="{8CD114A1-4E37-472B-84CB-58CF44F01DB8}" dt="2020-03-03T17:45:28.971" v="12132" actId="47"/>
        <pc:sldMkLst>
          <pc:docMk/>
          <pc:sldMk cId="2147177822" sldId="568"/>
        </pc:sldMkLst>
      </pc:sldChg>
      <pc:sldChg chg="modSp modNotesTx">
        <pc:chgData name="Susan Van Eyck" userId="662afd01-5edf-4fbb-b0e2-2ead5b38d415" providerId="ADAL" clId="{8CD114A1-4E37-472B-84CB-58CF44F01DB8}" dt="2020-03-06T22:27:36.539" v="27279" actId="20577"/>
        <pc:sldMkLst>
          <pc:docMk/>
          <pc:sldMk cId="2346840044" sldId="570"/>
        </pc:sldMkLst>
        <pc:graphicFrameChg chg="mod">
          <ac:chgData name="Susan Van Eyck" userId="662afd01-5edf-4fbb-b0e2-2ead5b38d415" providerId="ADAL" clId="{8CD114A1-4E37-472B-84CB-58CF44F01DB8}" dt="2020-03-06T22:12:11.961" v="26833" actId="20577"/>
          <ac:graphicFrameMkLst>
            <pc:docMk/>
            <pc:sldMk cId="2346840044" sldId="570"/>
            <ac:graphicFrameMk id="3" creationId="{9484E1FE-7534-495E-863C-657A46F5E628}"/>
          </ac:graphicFrameMkLst>
        </pc:graphicFrameChg>
      </pc:sldChg>
      <pc:sldChg chg="modSp mod">
        <pc:chgData name="Susan Van Eyck" userId="662afd01-5edf-4fbb-b0e2-2ead5b38d415" providerId="ADAL" clId="{8CD114A1-4E37-472B-84CB-58CF44F01DB8}" dt="2020-02-28T22:12:02.389" v="3101" actId="20577"/>
        <pc:sldMkLst>
          <pc:docMk/>
          <pc:sldMk cId="4248838292" sldId="573"/>
        </pc:sldMkLst>
        <pc:spChg chg="mod">
          <ac:chgData name="Susan Van Eyck" userId="662afd01-5edf-4fbb-b0e2-2ead5b38d415" providerId="ADAL" clId="{8CD114A1-4E37-472B-84CB-58CF44F01DB8}" dt="2020-02-28T22:11:26.750" v="3020" actId="20577"/>
          <ac:spMkLst>
            <pc:docMk/>
            <pc:sldMk cId="4248838292" sldId="573"/>
            <ac:spMk id="2" creationId="{EB67312A-9819-43C6-8D84-D9136E6CFFCC}"/>
          </ac:spMkLst>
        </pc:spChg>
        <pc:spChg chg="mod">
          <ac:chgData name="Susan Van Eyck" userId="662afd01-5edf-4fbb-b0e2-2ead5b38d415" providerId="ADAL" clId="{8CD114A1-4E37-472B-84CB-58CF44F01DB8}" dt="2020-02-28T22:12:02.389" v="3101" actId="20577"/>
          <ac:spMkLst>
            <pc:docMk/>
            <pc:sldMk cId="4248838292" sldId="573"/>
            <ac:spMk id="4" creationId="{F3616A99-090F-45E1-9334-58D58B148205}"/>
          </ac:spMkLst>
        </pc:spChg>
      </pc:sldChg>
      <pc:sldChg chg="del">
        <pc:chgData name="Susan Van Eyck" userId="662afd01-5edf-4fbb-b0e2-2ead5b38d415" providerId="ADAL" clId="{8CD114A1-4E37-472B-84CB-58CF44F01DB8}" dt="2020-03-04T14:21:58.603" v="17608" actId="47"/>
        <pc:sldMkLst>
          <pc:docMk/>
          <pc:sldMk cId="3372985199" sldId="578"/>
        </pc:sldMkLst>
      </pc:sldChg>
      <pc:sldChg chg="del">
        <pc:chgData name="Susan Van Eyck" userId="662afd01-5edf-4fbb-b0e2-2ead5b38d415" providerId="ADAL" clId="{8CD114A1-4E37-472B-84CB-58CF44F01DB8}" dt="2020-03-03T17:38:07.719" v="11869" actId="47"/>
        <pc:sldMkLst>
          <pc:docMk/>
          <pc:sldMk cId="3124974123" sldId="579"/>
        </pc:sldMkLst>
      </pc:sldChg>
      <pc:sldChg chg="addSp delSp modSp add mod modNotesTx">
        <pc:chgData name="Susan Van Eyck" userId="662afd01-5edf-4fbb-b0e2-2ead5b38d415" providerId="ADAL" clId="{8CD114A1-4E37-472B-84CB-58CF44F01DB8}" dt="2020-03-04T02:12:48.680" v="14288" actId="20577"/>
        <pc:sldMkLst>
          <pc:docMk/>
          <pc:sldMk cId="1516663082" sldId="581"/>
        </pc:sldMkLst>
        <pc:spChg chg="mod">
          <ac:chgData name="Susan Van Eyck" userId="662afd01-5edf-4fbb-b0e2-2ead5b38d415" providerId="ADAL" clId="{8CD114A1-4E37-472B-84CB-58CF44F01DB8}" dt="2020-02-28T22:04:10.412" v="2383" actId="20577"/>
          <ac:spMkLst>
            <pc:docMk/>
            <pc:sldMk cId="1516663082" sldId="581"/>
            <ac:spMk id="2" creationId="{EB67312A-9819-43C6-8D84-D9136E6CFFCC}"/>
          </ac:spMkLst>
        </pc:spChg>
        <pc:spChg chg="del mod">
          <ac:chgData name="Susan Van Eyck" userId="662afd01-5edf-4fbb-b0e2-2ead5b38d415" providerId="ADAL" clId="{8CD114A1-4E37-472B-84CB-58CF44F01DB8}" dt="2020-03-04T02:11:42.534" v="14285" actId="12084"/>
          <ac:spMkLst>
            <pc:docMk/>
            <pc:sldMk cId="1516663082" sldId="581"/>
            <ac:spMk id="4" creationId="{F3616A99-090F-45E1-9334-58D58B148205}"/>
          </ac:spMkLst>
        </pc:spChg>
        <pc:graphicFrameChg chg="add mod">
          <ac:chgData name="Susan Van Eyck" userId="662afd01-5edf-4fbb-b0e2-2ead5b38d415" providerId="ADAL" clId="{8CD114A1-4E37-472B-84CB-58CF44F01DB8}" dt="2020-03-04T02:12:48.680" v="14288" actId="20577"/>
          <ac:graphicFrameMkLst>
            <pc:docMk/>
            <pc:sldMk cId="1516663082" sldId="581"/>
            <ac:graphicFrameMk id="5" creationId="{DBCA296B-3874-45F7-AB56-F74E5DE12643}"/>
          </ac:graphicFrameMkLst>
        </pc:graphicFrameChg>
      </pc:sldChg>
      <pc:sldChg chg="addSp delSp modSp add mod modNotesTx">
        <pc:chgData name="Susan Van Eyck" userId="662afd01-5edf-4fbb-b0e2-2ead5b38d415" providerId="ADAL" clId="{8CD114A1-4E37-472B-84CB-58CF44F01DB8}" dt="2020-03-04T13:57:42.037" v="16463" actId="20577"/>
        <pc:sldMkLst>
          <pc:docMk/>
          <pc:sldMk cId="3877797472" sldId="582"/>
        </pc:sldMkLst>
        <pc:spChg chg="mod">
          <ac:chgData name="Susan Van Eyck" userId="662afd01-5edf-4fbb-b0e2-2ead5b38d415" providerId="ADAL" clId="{8CD114A1-4E37-472B-84CB-58CF44F01DB8}" dt="2020-03-04T13:20:39.132" v="15488" actId="20577"/>
          <ac:spMkLst>
            <pc:docMk/>
            <pc:sldMk cId="3877797472" sldId="582"/>
            <ac:spMk id="2" creationId="{EB67312A-9819-43C6-8D84-D9136E6CFFCC}"/>
          </ac:spMkLst>
        </pc:spChg>
        <pc:spChg chg="del mod">
          <ac:chgData name="Susan Van Eyck" userId="662afd01-5edf-4fbb-b0e2-2ead5b38d415" providerId="ADAL" clId="{8CD114A1-4E37-472B-84CB-58CF44F01DB8}" dt="2020-03-04T13:53:37.141" v="16309" actId="12084"/>
          <ac:spMkLst>
            <pc:docMk/>
            <pc:sldMk cId="3877797472" sldId="582"/>
            <ac:spMk id="4" creationId="{F3616A99-090F-45E1-9334-58D58B148205}"/>
          </ac:spMkLst>
        </pc:spChg>
        <pc:spChg chg="add mod">
          <ac:chgData name="Susan Van Eyck" userId="662afd01-5edf-4fbb-b0e2-2ead5b38d415" providerId="ADAL" clId="{8CD114A1-4E37-472B-84CB-58CF44F01DB8}" dt="2020-03-04T13:54:25.146" v="16321" actId="20577"/>
          <ac:spMkLst>
            <pc:docMk/>
            <pc:sldMk cId="3877797472" sldId="582"/>
            <ac:spMk id="5" creationId="{D5971169-0E16-4CF3-AC99-B2B168A60E27}"/>
          </ac:spMkLst>
        </pc:spChg>
        <pc:spChg chg="add mod">
          <ac:chgData name="Susan Van Eyck" userId="662afd01-5edf-4fbb-b0e2-2ead5b38d415" providerId="ADAL" clId="{8CD114A1-4E37-472B-84CB-58CF44F01DB8}" dt="2020-03-03T16:01:39.197" v="10364" actId="571"/>
          <ac:spMkLst>
            <pc:docMk/>
            <pc:sldMk cId="3877797472" sldId="582"/>
            <ac:spMk id="5" creationId="{FBE219CE-2715-4133-94DE-CC592B005133}"/>
          </ac:spMkLst>
        </pc:spChg>
        <pc:spChg chg="add del mod">
          <ac:chgData name="Susan Van Eyck" userId="662afd01-5edf-4fbb-b0e2-2ead5b38d415" providerId="ADAL" clId="{8CD114A1-4E37-472B-84CB-58CF44F01DB8}" dt="2020-03-03T16:01:46.858" v="10368" actId="478"/>
          <ac:spMkLst>
            <pc:docMk/>
            <pc:sldMk cId="3877797472" sldId="582"/>
            <ac:spMk id="6" creationId="{1DDF4651-FC76-4BDC-9A24-160A46D51CC0}"/>
          </ac:spMkLst>
        </pc:spChg>
        <pc:graphicFrameChg chg="add mod">
          <ac:chgData name="Susan Van Eyck" userId="662afd01-5edf-4fbb-b0e2-2ead5b38d415" providerId="ADAL" clId="{8CD114A1-4E37-472B-84CB-58CF44F01DB8}" dt="2020-03-04T13:57:42.037" v="16463" actId="20577"/>
          <ac:graphicFrameMkLst>
            <pc:docMk/>
            <pc:sldMk cId="3877797472" sldId="582"/>
            <ac:graphicFrameMk id="6" creationId="{2217EB35-CC23-4C14-A610-AB5118F33063}"/>
          </ac:graphicFrameMkLst>
        </pc:graphicFrameChg>
        <pc:picChg chg="add del mod">
          <ac:chgData name="Susan Van Eyck" userId="662afd01-5edf-4fbb-b0e2-2ead5b38d415" providerId="ADAL" clId="{8CD114A1-4E37-472B-84CB-58CF44F01DB8}" dt="2020-03-04T13:14:44.210" v="15296" actId="478"/>
          <ac:picMkLst>
            <pc:docMk/>
            <pc:sldMk cId="3877797472" sldId="582"/>
            <ac:picMk id="7" creationId="{DBFEA61F-4C77-429D-8CCE-2CC746D6FF9F}"/>
          </ac:picMkLst>
        </pc:picChg>
      </pc:sldChg>
      <pc:sldChg chg="addSp delSp modSp add mod modNotesTx">
        <pc:chgData name="Susan Van Eyck" userId="662afd01-5edf-4fbb-b0e2-2ead5b38d415" providerId="ADAL" clId="{8CD114A1-4E37-472B-84CB-58CF44F01DB8}" dt="2020-03-04T15:09:59.070" v="19845" actId="20577"/>
        <pc:sldMkLst>
          <pc:docMk/>
          <pc:sldMk cId="524507872" sldId="583"/>
        </pc:sldMkLst>
        <pc:spChg chg="mod">
          <ac:chgData name="Susan Van Eyck" userId="662afd01-5edf-4fbb-b0e2-2ead5b38d415" providerId="ADAL" clId="{8CD114A1-4E37-472B-84CB-58CF44F01DB8}" dt="2020-03-04T13:59:05.753" v="16505" actId="20577"/>
          <ac:spMkLst>
            <pc:docMk/>
            <pc:sldMk cId="524507872" sldId="583"/>
            <ac:spMk id="2" creationId="{EB67312A-9819-43C6-8D84-D9136E6CFFCC}"/>
          </ac:spMkLst>
        </pc:spChg>
        <pc:spChg chg="del mod">
          <ac:chgData name="Susan Van Eyck" userId="662afd01-5edf-4fbb-b0e2-2ead5b38d415" providerId="ADAL" clId="{8CD114A1-4E37-472B-84CB-58CF44F01DB8}" dt="2020-03-04T14:13:32.203" v="17372" actId="12084"/>
          <ac:spMkLst>
            <pc:docMk/>
            <pc:sldMk cId="524507872" sldId="583"/>
            <ac:spMk id="4" creationId="{F3616A99-090F-45E1-9334-58D58B148205}"/>
          </ac:spMkLst>
        </pc:spChg>
        <pc:graphicFrameChg chg="add mod">
          <ac:chgData name="Susan Van Eyck" userId="662afd01-5edf-4fbb-b0e2-2ead5b38d415" providerId="ADAL" clId="{8CD114A1-4E37-472B-84CB-58CF44F01DB8}" dt="2020-03-04T14:14:52.389" v="17448" actId="20577"/>
          <ac:graphicFrameMkLst>
            <pc:docMk/>
            <pc:sldMk cId="524507872" sldId="583"/>
            <ac:graphicFrameMk id="5" creationId="{44B17301-66B9-46C5-B710-C2BFBFF70B60}"/>
          </ac:graphicFrameMkLst>
        </pc:graphicFrameChg>
      </pc:sldChg>
      <pc:sldChg chg="add del">
        <pc:chgData name="Susan Van Eyck" userId="662afd01-5edf-4fbb-b0e2-2ead5b38d415" providerId="ADAL" clId="{8CD114A1-4E37-472B-84CB-58CF44F01DB8}" dt="2020-03-03T16:25:46.636" v="11054" actId="47"/>
        <pc:sldMkLst>
          <pc:docMk/>
          <pc:sldMk cId="3463638931" sldId="584"/>
        </pc:sldMkLst>
      </pc:sldChg>
      <pc:sldChg chg="addSp delSp modSp add mod">
        <pc:chgData name="Susan Van Eyck" userId="662afd01-5edf-4fbb-b0e2-2ead5b38d415" providerId="ADAL" clId="{8CD114A1-4E37-472B-84CB-58CF44F01DB8}" dt="2020-03-05T15:31:45.867" v="23233" actId="20577"/>
        <pc:sldMkLst>
          <pc:docMk/>
          <pc:sldMk cId="3643016523" sldId="585"/>
        </pc:sldMkLst>
        <pc:spChg chg="mod">
          <ac:chgData name="Susan Van Eyck" userId="662afd01-5edf-4fbb-b0e2-2ead5b38d415" providerId="ADAL" clId="{8CD114A1-4E37-472B-84CB-58CF44F01DB8}" dt="2020-03-01T17:39:57.054" v="5685" actId="6549"/>
          <ac:spMkLst>
            <pc:docMk/>
            <pc:sldMk cId="3643016523" sldId="585"/>
            <ac:spMk id="2" creationId="{EB67312A-9819-43C6-8D84-D9136E6CFFCC}"/>
          </ac:spMkLst>
        </pc:spChg>
        <pc:spChg chg="del mod">
          <ac:chgData name="Susan Van Eyck" userId="662afd01-5edf-4fbb-b0e2-2ead5b38d415" providerId="ADAL" clId="{8CD114A1-4E37-472B-84CB-58CF44F01DB8}" dt="2020-03-03T14:25:11.431" v="9457" actId="12084"/>
          <ac:spMkLst>
            <pc:docMk/>
            <pc:sldMk cId="3643016523" sldId="585"/>
            <ac:spMk id="4" creationId="{F3616A99-090F-45E1-9334-58D58B148205}"/>
          </ac:spMkLst>
        </pc:spChg>
        <pc:spChg chg="add mod">
          <ac:chgData name="Susan Van Eyck" userId="662afd01-5edf-4fbb-b0e2-2ead5b38d415" providerId="ADAL" clId="{8CD114A1-4E37-472B-84CB-58CF44F01DB8}" dt="2020-03-03T14:25:54.268" v="9466" actId="1076"/>
          <ac:spMkLst>
            <pc:docMk/>
            <pc:sldMk cId="3643016523" sldId="585"/>
            <ac:spMk id="6" creationId="{34165380-CB7A-4757-8C02-6AAF76903C01}"/>
          </ac:spMkLst>
        </pc:spChg>
        <pc:graphicFrameChg chg="add mod">
          <ac:chgData name="Susan Van Eyck" userId="662afd01-5edf-4fbb-b0e2-2ead5b38d415" providerId="ADAL" clId="{8CD114A1-4E37-472B-84CB-58CF44F01DB8}" dt="2020-03-05T15:31:45.867" v="23233" actId="20577"/>
          <ac:graphicFrameMkLst>
            <pc:docMk/>
            <pc:sldMk cId="3643016523" sldId="585"/>
            <ac:graphicFrameMk id="5" creationId="{F0795D0E-A453-40E0-903D-19103CAE4493}"/>
          </ac:graphicFrameMkLst>
        </pc:graphicFrameChg>
      </pc:sldChg>
      <pc:sldChg chg="modSp add del mod">
        <pc:chgData name="Susan Van Eyck" userId="662afd01-5edf-4fbb-b0e2-2ead5b38d415" providerId="ADAL" clId="{8CD114A1-4E37-472B-84CB-58CF44F01DB8}" dt="2020-03-01T18:15:42.969" v="6325" actId="47"/>
        <pc:sldMkLst>
          <pc:docMk/>
          <pc:sldMk cId="2722219837" sldId="586"/>
        </pc:sldMkLst>
        <pc:spChg chg="mod">
          <ac:chgData name="Susan Van Eyck" userId="662afd01-5edf-4fbb-b0e2-2ead5b38d415" providerId="ADAL" clId="{8CD114A1-4E37-472B-84CB-58CF44F01DB8}" dt="2020-02-28T22:09:23.879" v="2868" actId="20577"/>
          <ac:spMkLst>
            <pc:docMk/>
            <pc:sldMk cId="2722219837" sldId="586"/>
            <ac:spMk id="2" creationId="{EB67312A-9819-43C6-8D84-D9136E6CFFCC}"/>
          </ac:spMkLst>
        </pc:spChg>
        <pc:spChg chg="mod">
          <ac:chgData name="Susan Van Eyck" userId="662afd01-5edf-4fbb-b0e2-2ead5b38d415" providerId="ADAL" clId="{8CD114A1-4E37-472B-84CB-58CF44F01DB8}" dt="2020-02-28T22:09:34.855" v="2892" actId="20577"/>
          <ac:spMkLst>
            <pc:docMk/>
            <pc:sldMk cId="2722219837" sldId="586"/>
            <ac:spMk id="4" creationId="{F3616A99-090F-45E1-9334-58D58B148205}"/>
          </ac:spMkLst>
        </pc:spChg>
      </pc:sldChg>
      <pc:sldChg chg="addSp delSp modSp add mod modNotesTx">
        <pc:chgData name="Susan Van Eyck" userId="662afd01-5edf-4fbb-b0e2-2ead5b38d415" providerId="ADAL" clId="{8CD114A1-4E37-472B-84CB-58CF44F01DB8}" dt="2020-03-05T15:27:27.289" v="23206" actId="20577"/>
        <pc:sldMkLst>
          <pc:docMk/>
          <pc:sldMk cId="505352680" sldId="587"/>
        </pc:sldMkLst>
        <pc:spChg chg="mod">
          <ac:chgData name="Susan Van Eyck" userId="662afd01-5edf-4fbb-b0e2-2ead5b38d415" providerId="ADAL" clId="{8CD114A1-4E37-472B-84CB-58CF44F01DB8}" dt="2020-02-28T22:10:44.921" v="2965" actId="20577"/>
          <ac:spMkLst>
            <pc:docMk/>
            <pc:sldMk cId="505352680" sldId="587"/>
            <ac:spMk id="2" creationId="{EB67312A-9819-43C6-8D84-D9136E6CFFCC}"/>
          </ac:spMkLst>
        </pc:spChg>
        <pc:spChg chg="del mod">
          <ac:chgData name="Susan Van Eyck" userId="662afd01-5edf-4fbb-b0e2-2ead5b38d415" providerId="ADAL" clId="{8CD114A1-4E37-472B-84CB-58CF44F01DB8}" dt="2020-03-03T14:31:36.916" v="9487" actId="12084"/>
          <ac:spMkLst>
            <pc:docMk/>
            <pc:sldMk cId="505352680" sldId="587"/>
            <ac:spMk id="4" creationId="{F3616A99-090F-45E1-9334-58D58B148205}"/>
          </ac:spMkLst>
        </pc:spChg>
        <pc:graphicFrameChg chg="add mod">
          <ac:chgData name="Susan Van Eyck" userId="662afd01-5edf-4fbb-b0e2-2ead5b38d415" providerId="ADAL" clId="{8CD114A1-4E37-472B-84CB-58CF44F01DB8}" dt="2020-03-03T17:36:51.565" v="11868" actId="20577"/>
          <ac:graphicFrameMkLst>
            <pc:docMk/>
            <pc:sldMk cId="505352680" sldId="587"/>
            <ac:graphicFrameMk id="5" creationId="{10B34238-99A6-4138-808A-63D2829DAFF5}"/>
          </ac:graphicFrameMkLst>
        </pc:graphicFrameChg>
      </pc:sldChg>
      <pc:sldChg chg="addSp modSp add mod">
        <pc:chgData name="Susan Van Eyck" userId="662afd01-5edf-4fbb-b0e2-2ead5b38d415" providerId="ADAL" clId="{8CD114A1-4E37-472B-84CB-58CF44F01DB8}" dt="2020-03-05T15:48:55.292" v="23340" actId="20577"/>
        <pc:sldMkLst>
          <pc:docMk/>
          <pc:sldMk cId="3883125279" sldId="588"/>
        </pc:sldMkLst>
        <pc:spChg chg="mod">
          <ac:chgData name="Susan Van Eyck" userId="662afd01-5edf-4fbb-b0e2-2ead5b38d415" providerId="ADAL" clId="{8CD114A1-4E37-472B-84CB-58CF44F01DB8}" dt="2020-03-05T15:48:55.292" v="23340" actId="20577"/>
          <ac:spMkLst>
            <pc:docMk/>
            <pc:sldMk cId="3883125279" sldId="588"/>
            <ac:spMk id="2" creationId="{EB67312A-9819-43C6-8D84-D9136E6CFFCC}"/>
          </ac:spMkLst>
        </pc:spChg>
        <pc:spChg chg="add mod">
          <ac:chgData name="Susan Van Eyck" userId="662afd01-5edf-4fbb-b0e2-2ead5b38d415" providerId="ADAL" clId="{8CD114A1-4E37-472B-84CB-58CF44F01DB8}" dt="2020-03-05T15:48:42.637" v="23317"/>
          <ac:spMkLst>
            <pc:docMk/>
            <pc:sldMk cId="3883125279" sldId="588"/>
            <ac:spMk id="5" creationId="{EF76EB30-8C39-4F28-A495-8E395B01F047}"/>
          </ac:spMkLst>
        </pc:spChg>
      </pc:sldChg>
      <pc:sldChg chg="add">
        <pc:chgData name="Susan Van Eyck" userId="662afd01-5edf-4fbb-b0e2-2ead5b38d415" providerId="ADAL" clId="{8CD114A1-4E37-472B-84CB-58CF44F01DB8}" dt="2020-02-28T22:11:10.902" v="2988" actId="22"/>
        <pc:sldMkLst>
          <pc:docMk/>
          <pc:sldMk cId="1144144753" sldId="589"/>
        </pc:sldMkLst>
      </pc:sldChg>
      <pc:sldChg chg="add">
        <pc:chgData name="Susan Van Eyck" userId="662afd01-5edf-4fbb-b0e2-2ead5b38d415" providerId="ADAL" clId="{8CD114A1-4E37-472B-84CB-58CF44F01DB8}" dt="2020-02-28T22:11:11.207" v="2989" actId="22"/>
        <pc:sldMkLst>
          <pc:docMk/>
          <pc:sldMk cId="2259382034" sldId="590"/>
        </pc:sldMkLst>
      </pc:sldChg>
      <pc:sldChg chg="add">
        <pc:chgData name="Susan Van Eyck" userId="662afd01-5edf-4fbb-b0e2-2ead5b38d415" providerId="ADAL" clId="{8CD114A1-4E37-472B-84CB-58CF44F01DB8}" dt="2020-02-28T22:11:11.462" v="2990" actId="22"/>
        <pc:sldMkLst>
          <pc:docMk/>
          <pc:sldMk cId="3076473486" sldId="591"/>
        </pc:sldMkLst>
      </pc:sldChg>
      <pc:sldChg chg="addSp delSp modSp add mod ord">
        <pc:chgData name="Susan Van Eyck" userId="662afd01-5edf-4fbb-b0e2-2ead5b38d415" providerId="ADAL" clId="{8CD114A1-4E37-472B-84CB-58CF44F01DB8}" dt="2020-03-03T17:24:43.539" v="11677" actId="12100"/>
        <pc:sldMkLst>
          <pc:docMk/>
          <pc:sldMk cId="2064303006" sldId="592"/>
        </pc:sldMkLst>
        <pc:spChg chg="mod">
          <ac:chgData name="Susan Van Eyck" userId="662afd01-5edf-4fbb-b0e2-2ead5b38d415" providerId="ADAL" clId="{8CD114A1-4E37-472B-84CB-58CF44F01DB8}" dt="2020-03-01T17:13:39.315" v="4978" actId="20577"/>
          <ac:spMkLst>
            <pc:docMk/>
            <pc:sldMk cId="2064303006" sldId="592"/>
            <ac:spMk id="2" creationId="{EB67312A-9819-43C6-8D84-D9136E6CFFCC}"/>
          </ac:spMkLst>
        </pc:spChg>
        <pc:spChg chg="add del mod">
          <ac:chgData name="Susan Van Eyck" userId="662afd01-5edf-4fbb-b0e2-2ead5b38d415" providerId="ADAL" clId="{8CD114A1-4E37-472B-84CB-58CF44F01DB8}" dt="2020-03-02T23:33:23.860" v="9431" actId="12084"/>
          <ac:spMkLst>
            <pc:docMk/>
            <pc:sldMk cId="2064303006" sldId="592"/>
            <ac:spMk id="4" creationId="{F3616A99-090F-45E1-9334-58D58B148205}"/>
          </ac:spMkLst>
        </pc:spChg>
        <pc:graphicFrameChg chg="add del mod">
          <ac:chgData name="Susan Van Eyck" userId="662afd01-5edf-4fbb-b0e2-2ead5b38d415" providerId="ADAL" clId="{8CD114A1-4E37-472B-84CB-58CF44F01DB8}" dt="2020-03-02T23:29:48.377" v="9427" actId="12084"/>
          <ac:graphicFrameMkLst>
            <pc:docMk/>
            <pc:sldMk cId="2064303006" sldId="592"/>
            <ac:graphicFrameMk id="5" creationId="{D1247A48-2ECF-4426-A83A-85A0CFDE38F2}"/>
          </ac:graphicFrameMkLst>
        </pc:graphicFrameChg>
        <pc:graphicFrameChg chg="add mod">
          <ac:chgData name="Susan Van Eyck" userId="662afd01-5edf-4fbb-b0e2-2ead5b38d415" providerId="ADAL" clId="{8CD114A1-4E37-472B-84CB-58CF44F01DB8}" dt="2020-03-03T17:24:43.539" v="11677" actId="12100"/>
          <ac:graphicFrameMkLst>
            <pc:docMk/>
            <pc:sldMk cId="2064303006" sldId="592"/>
            <ac:graphicFrameMk id="6" creationId="{40F1CCF2-70F1-42A8-8D40-9CE7C0C535D0}"/>
          </ac:graphicFrameMkLst>
        </pc:graphicFrameChg>
      </pc:sldChg>
      <pc:sldChg chg="addSp delSp modSp add mod ord modClrScheme chgLayout modNotesTx">
        <pc:chgData name="Susan Van Eyck" userId="662afd01-5edf-4fbb-b0e2-2ead5b38d415" providerId="ADAL" clId="{8CD114A1-4E37-472B-84CB-58CF44F01DB8}" dt="2020-03-05T16:20:02.259" v="23484" actId="6549"/>
        <pc:sldMkLst>
          <pc:docMk/>
          <pc:sldMk cId="1738984369" sldId="593"/>
        </pc:sldMkLst>
        <pc:spChg chg="mod ord">
          <ac:chgData name="Susan Van Eyck" userId="662afd01-5edf-4fbb-b0e2-2ead5b38d415" providerId="ADAL" clId="{8CD114A1-4E37-472B-84CB-58CF44F01DB8}" dt="2020-03-05T16:15:33.130" v="23460" actId="20577"/>
          <ac:spMkLst>
            <pc:docMk/>
            <pc:sldMk cId="1738984369" sldId="593"/>
            <ac:spMk id="2" creationId="{13B38220-D8B1-49CC-9566-02F4E21AEB39}"/>
          </ac:spMkLst>
        </pc:spChg>
        <pc:spChg chg="del mod ord">
          <ac:chgData name="Susan Van Eyck" userId="662afd01-5edf-4fbb-b0e2-2ead5b38d415" providerId="ADAL" clId="{8CD114A1-4E37-472B-84CB-58CF44F01DB8}" dt="2020-03-01T16:46:28.842" v="3648" actId="700"/>
          <ac:spMkLst>
            <pc:docMk/>
            <pc:sldMk cId="1738984369" sldId="593"/>
            <ac:spMk id="3" creationId="{1246D0F6-E7CC-4B9A-9BE8-FC8DE10AF9A1}"/>
          </ac:spMkLst>
        </pc:spChg>
        <pc:spChg chg="add del mod ord">
          <ac:chgData name="Susan Van Eyck" userId="662afd01-5edf-4fbb-b0e2-2ead5b38d415" providerId="ADAL" clId="{8CD114A1-4E37-472B-84CB-58CF44F01DB8}" dt="2020-03-03T14:28:49.997" v="9473" actId="12084"/>
          <ac:spMkLst>
            <pc:docMk/>
            <pc:sldMk cId="1738984369" sldId="593"/>
            <ac:spMk id="4" creationId="{A462796E-D949-47AF-9E0D-F6DC1D4645FC}"/>
          </ac:spMkLst>
        </pc:spChg>
        <pc:spChg chg="add del mod ord">
          <ac:chgData name="Susan Van Eyck" userId="662afd01-5edf-4fbb-b0e2-2ead5b38d415" providerId="ADAL" clId="{8CD114A1-4E37-472B-84CB-58CF44F01DB8}" dt="2020-03-03T14:29:07.411" v="9475" actId="12084"/>
          <ac:spMkLst>
            <pc:docMk/>
            <pc:sldMk cId="1738984369" sldId="593"/>
            <ac:spMk id="5" creationId="{4FBB7591-56D3-44AB-A29F-E7D3371B026D}"/>
          </ac:spMkLst>
        </pc:spChg>
        <pc:graphicFrameChg chg="add del mod">
          <ac:chgData name="Susan Van Eyck" userId="662afd01-5edf-4fbb-b0e2-2ead5b38d415" providerId="ADAL" clId="{8CD114A1-4E37-472B-84CB-58CF44F01DB8}" dt="2020-03-03T14:28:28.371" v="9472" actId="12084"/>
          <ac:graphicFrameMkLst>
            <pc:docMk/>
            <pc:sldMk cId="1738984369" sldId="593"/>
            <ac:graphicFrameMk id="3" creationId="{EF0179F2-6787-446A-988B-6F282C71253F}"/>
          </ac:graphicFrameMkLst>
        </pc:graphicFrameChg>
        <pc:graphicFrameChg chg="add mod">
          <ac:chgData name="Susan Van Eyck" userId="662afd01-5edf-4fbb-b0e2-2ead5b38d415" providerId="ADAL" clId="{8CD114A1-4E37-472B-84CB-58CF44F01DB8}" dt="2020-03-03T14:28:55.110" v="9474" actId="12100"/>
          <ac:graphicFrameMkLst>
            <pc:docMk/>
            <pc:sldMk cId="1738984369" sldId="593"/>
            <ac:graphicFrameMk id="6" creationId="{5B8AE85A-49AB-4B7D-B64D-F4C588116D35}"/>
          </ac:graphicFrameMkLst>
        </pc:graphicFrameChg>
        <pc:graphicFrameChg chg="add mod">
          <ac:chgData name="Susan Van Eyck" userId="662afd01-5edf-4fbb-b0e2-2ead5b38d415" providerId="ADAL" clId="{8CD114A1-4E37-472B-84CB-58CF44F01DB8}" dt="2020-03-03T16:23:02.059" v="10962" actId="20577"/>
          <ac:graphicFrameMkLst>
            <pc:docMk/>
            <pc:sldMk cId="1738984369" sldId="593"/>
            <ac:graphicFrameMk id="7" creationId="{07B58EF0-D344-4EB4-BD4B-728143E8897D}"/>
          </ac:graphicFrameMkLst>
        </pc:graphicFrameChg>
      </pc:sldChg>
      <pc:sldChg chg="addSp delSp modSp add mod">
        <pc:chgData name="Susan Van Eyck" userId="662afd01-5edf-4fbb-b0e2-2ead5b38d415" providerId="ADAL" clId="{8CD114A1-4E37-472B-84CB-58CF44F01DB8}" dt="2020-03-05T17:04:24.727" v="24346" actId="20577"/>
        <pc:sldMkLst>
          <pc:docMk/>
          <pc:sldMk cId="516285359" sldId="594"/>
        </pc:sldMkLst>
        <pc:spChg chg="mod">
          <ac:chgData name="Susan Van Eyck" userId="662afd01-5edf-4fbb-b0e2-2ead5b38d415" providerId="ADAL" clId="{8CD114A1-4E37-472B-84CB-58CF44F01DB8}" dt="2020-03-01T16:48:30.264" v="3745" actId="5793"/>
          <ac:spMkLst>
            <pc:docMk/>
            <pc:sldMk cId="516285359" sldId="594"/>
            <ac:spMk id="2" creationId="{E608A065-D26A-44B7-9DFD-F2A6E315D2EB}"/>
          </ac:spMkLst>
        </pc:spChg>
        <pc:spChg chg="del mod">
          <ac:chgData name="Susan Van Eyck" userId="662afd01-5edf-4fbb-b0e2-2ead5b38d415" providerId="ADAL" clId="{8CD114A1-4E37-472B-84CB-58CF44F01DB8}" dt="2020-03-03T14:30:51.517" v="9483" actId="12084"/>
          <ac:spMkLst>
            <pc:docMk/>
            <pc:sldMk cId="516285359" sldId="594"/>
            <ac:spMk id="4" creationId="{78E9F4EA-609F-451A-BCC9-C57F65B4E451}"/>
          </ac:spMkLst>
        </pc:spChg>
        <pc:spChg chg="add mod">
          <ac:chgData name="Susan Van Eyck" userId="662afd01-5edf-4fbb-b0e2-2ead5b38d415" providerId="ADAL" clId="{8CD114A1-4E37-472B-84CB-58CF44F01DB8}" dt="2020-03-03T14:31:12.929" v="9486" actId="1076"/>
          <ac:spMkLst>
            <pc:docMk/>
            <pc:sldMk cId="516285359" sldId="594"/>
            <ac:spMk id="6" creationId="{0534727D-A49B-4D2D-BD19-C81D0CBC7C3B}"/>
          </ac:spMkLst>
        </pc:spChg>
        <pc:graphicFrameChg chg="add mod">
          <ac:chgData name="Susan Van Eyck" userId="662afd01-5edf-4fbb-b0e2-2ead5b38d415" providerId="ADAL" clId="{8CD114A1-4E37-472B-84CB-58CF44F01DB8}" dt="2020-03-05T17:04:24.727" v="24346" actId="20577"/>
          <ac:graphicFrameMkLst>
            <pc:docMk/>
            <pc:sldMk cId="516285359" sldId="594"/>
            <ac:graphicFrameMk id="5" creationId="{103F0B17-D8FA-472F-9715-D1C7D8D6FE8A}"/>
          </ac:graphicFrameMkLst>
        </pc:graphicFrameChg>
        <pc:picChg chg="add del">
          <ac:chgData name="Susan Van Eyck" userId="662afd01-5edf-4fbb-b0e2-2ead5b38d415" providerId="ADAL" clId="{8CD114A1-4E37-472B-84CB-58CF44F01DB8}" dt="2020-03-01T16:50:01.709" v="3978" actId="478"/>
          <ac:picMkLst>
            <pc:docMk/>
            <pc:sldMk cId="516285359" sldId="594"/>
            <ac:picMk id="5" creationId="{FACB41FE-4B2A-4BA3-85D7-0E7A7854E9A2}"/>
          </ac:picMkLst>
        </pc:picChg>
      </pc:sldChg>
      <pc:sldChg chg="addSp delSp modSp add mod ord modNotesTx">
        <pc:chgData name="Susan Van Eyck" userId="662afd01-5edf-4fbb-b0e2-2ead5b38d415" providerId="ADAL" clId="{8CD114A1-4E37-472B-84CB-58CF44F01DB8}" dt="2020-03-04T20:59:16.418" v="23079" actId="20577"/>
        <pc:sldMkLst>
          <pc:docMk/>
          <pc:sldMk cId="2159944076" sldId="595"/>
        </pc:sldMkLst>
        <pc:spChg chg="mod">
          <ac:chgData name="Susan Van Eyck" userId="662afd01-5edf-4fbb-b0e2-2ead5b38d415" providerId="ADAL" clId="{8CD114A1-4E37-472B-84CB-58CF44F01DB8}" dt="2020-03-01T17:21:20.106" v="5295" actId="20577"/>
          <ac:spMkLst>
            <pc:docMk/>
            <pc:sldMk cId="2159944076" sldId="595"/>
            <ac:spMk id="2" creationId="{ACE5943A-A02E-4622-A215-7B366DED54C7}"/>
          </ac:spMkLst>
        </pc:spChg>
        <pc:spChg chg="del mod">
          <ac:chgData name="Susan Van Eyck" userId="662afd01-5edf-4fbb-b0e2-2ead5b38d415" providerId="ADAL" clId="{8CD114A1-4E37-472B-84CB-58CF44F01DB8}" dt="2020-03-02T23:29:05.781" v="9423" actId="12084"/>
          <ac:spMkLst>
            <pc:docMk/>
            <pc:sldMk cId="2159944076" sldId="595"/>
            <ac:spMk id="4" creationId="{0D5CD7D6-D4F8-452D-B28B-F0B7A9BC7D3E}"/>
          </ac:spMkLst>
        </pc:spChg>
        <pc:graphicFrameChg chg="add mod">
          <ac:chgData name="Susan Van Eyck" userId="662afd01-5edf-4fbb-b0e2-2ead5b38d415" providerId="ADAL" clId="{8CD114A1-4E37-472B-84CB-58CF44F01DB8}" dt="2020-03-03T17:16:35.601" v="11564" actId="20577"/>
          <ac:graphicFrameMkLst>
            <pc:docMk/>
            <pc:sldMk cId="2159944076" sldId="595"/>
            <ac:graphicFrameMk id="5" creationId="{7AFE8F4A-CD20-4EF7-9262-C5094C4D3B4B}"/>
          </ac:graphicFrameMkLst>
        </pc:graphicFrameChg>
      </pc:sldChg>
      <pc:sldChg chg="modSp add del mod">
        <pc:chgData name="Susan Van Eyck" userId="662afd01-5edf-4fbb-b0e2-2ead5b38d415" providerId="ADAL" clId="{8CD114A1-4E37-472B-84CB-58CF44F01DB8}" dt="2020-03-01T18:23:38.840" v="6524" actId="47"/>
        <pc:sldMkLst>
          <pc:docMk/>
          <pc:sldMk cId="146620439" sldId="596"/>
        </pc:sldMkLst>
        <pc:spChg chg="mod">
          <ac:chgData name="Susan Van Eyck" userId="662afd01-5edf-4fbb-b0e2-2ead5b38d415" providerId="ADAL" clId="{8CD114A1-4E37-472B-84CB-58CF44F01DB8}" dt="2020-03-01T17:49:02.882" v="5963" actId="20577"/>
          <ac:spMkLst>
            <pc:docMk/>
            <pc:sldMk cId="146620439" sldId="596"/>
            <ac:spMk id="2" creationId="{21C160D4-AA0F-446B-A975-665AEC0FB49A}"/>
          </ac:spMkLst>
        </pc:spChg>
        <pc:spChg chg="mod">
          <ac:chgData name="Susan Van Eyck" userId="662afd01-5edf-4fbb-b0e2-2ead5b38d415" providerId="ADAL" clId="{8CD114A1-4E37-472B-84CB-58CF44F01DB8}" dt="2020-03-01T17:51:10.098" v="6132" actId="20577"/>
          <ac:spMkLst>
            <pc:docMk/>
            <pc:sldMk cId="146620439" sldId="596"/>
            <ac:spMk id="4" creationId="{1E4FE81D-FBDD-4276-865B-678057D29520}"/>
          </ac:spMkLst>
        </pc:spChg>
      </pc:sldChg>
      <pc:sldChg chg="addSp delSp modSp add del mod ord">
        <pc:chgData name="Susan Van Eyck" userId="662afd01-5edf-4fbb-b0e2-2ead5b38d415" providerId="ADAL" clId="{8CD114A1-4E37-472B-84CB-58CF44F01DB8}" dt="2020-03-01T19:40:41.889" v="9357" actId="47"/>
        <pc:sldMkLst>
          <pc:docMk/>
          <pc:sldMk cId="2429058719" sldId="597"/>
        </pc:sldMkLst>
        <pc:spChg chg="mod">
          <ac:chgData name="Susan Van Eyck" userId="662afd01-5edf-4fbb-b0e2-2ead5b38d415" providerId="ADAL" clId="{8CD114A1-4E37-472B-84CB-58CF44F01DB8}" dt="2020-03-01T17:23:41.445" v="5454" actId="5793"/>
          <ac:spMkLst>
            <pc:docMk/>
            <pc:sldMk cId="2429058719" sldId="597"/>
            <ac:spMk id="2" creationId="{C4583FE5-04C3-4FA0-810F-4BA06F178D5E}"/>
          </ac:spMkLst>
        </pc:spChg>
        <pc:spChg chg="mod">
          <ac:chgData name="Susan Van Eyck" userId="662afd01-5edf-4fbb-b0e2-2ead5b38d415" providerId="ADAL" clId="{8CD114A1-4E37-472B-84CB-58CF44F01DB8}" dt="2020-03-01T17:54:28.036" v="6225" actId="20577"/>
          <ac:spMkLst>
            <pc:docMk/>
            <pc:sldMk cId="2429058719" sldId="597"/>
            <ac:spMk id="4" creationId="{0F981BDF-A273-4FBD-A6D1-9545374AF992}"/>
          </ac:spMkLst>
        </pc:spChg>
        <pc:spChg chg="add del">
          <ac:chgData name="Susan Van Eyck" userId="662afd01-5edf-4fbb-b0e2-2ead5b38d415" providerId="ADAL" clId="{8CD114A1-4E37-472B-84CB-58CF44F01DB8}" dt="2020-03-01T17:23:49.473" v="5456"/>
          <ac:spMkLst>
            <pc:docMk/>
            <pc:sldMk cId="2429058719" sldId="597"/>
            <ac:spMk id="5" creationId="{A6AC9A66-55D3-4775-8889-3E9F2846A1FA}"/>
          </ac:spMkLst>
        </pc:spChg>
      </pc:sldChg>
      <pc:sldChg chg="delSp modSp add del mod chgLayout">
        <pc:chgData name="Susan Van Eyck" userId="662afd01-5edf-4fbb-b0e2-2ead5b38d415" providerId="ADAL" clId="{8CD114A1-4E37-472B-84CB-58CF44F01DB8}" dt="2020-03-01T17:35:12.300" v="5536" actId="47"/>
        <pc:sldMkLst>
          <pc:docMk/>
          <pc:sldMk cId="912176157" sldId="598"/>
        </pc:sldMkLst>
        <pc:spChg chg="mod">
          <ac:chgData name="Susan Van Eyck" userId="662afd01-5edf-4fbb-b0e2-2ead5b38d415" providerId="ADAL" clId="{8CD114A1-4E37-472B-84CB-58CF44F01DB8}" dt="2020-03-01T17:28:56.740" v="5513" actId="207"/>
          <ac:spMkLst>
            <pc:docMk/>
            <pc:sldMk cId="912176157" sldId="598"/>
            <ac:spMk id="2" creationId="{B60FD62A-8548-42B2-8BA3-5C65D54D57E8}"/>
          </ac:spMkLst>
        </pc:spChg>
        <pc:spChg chg="mod">
          <ac:chgData name="Susan Van Eyck" userId="662afd01-5edf-4fbb-b0e2-2ead5b38d415" providerId="ADAL" clId="{8CD114A1-4E37-472B-84CB-58CF44F01DB8}" dt="2020-03-01T17:29:36.522" v="5519" actId="208"/>
          <ac:spMkLst>
            <pc:docMk/>
            <pc:sldMk cId="912176157" sldId="598"/>
            <ac:spMk id="3" creationId="{AA317D73-6AB3-4427-A03E-DFBE9EF9A478}"/>
          </ac:spMkLst>
        </pc:spChg>
        <pc:spChg chg="mod">
          <ac:chgData name="Susan Van Eyck" userId="662afd01-5edf-4fbb-b0e2-2ead5b38d415" providerId="ADAL" clId="{8CD114A1-4E37-472B-84CB-58CF44F01DB8}" dt="2020-03-01T17:29:36.522" v="5519" actId="208"/>
          <ac:spMkLst>
            <pc:docMk/>
            <pc:sldMk cId="912176157" sldId="598"/>
            <ac:spMk id="4" creationId="{A3C9E00B-2C7B-42DE-86D8-D645CB8B3173}"/>
          </ac:spMkLst>
        </pc:spChg>
        <pc:spChg chg="mod">
          <ac:chgData name="Susan Van Eyck" userId="662afd01-5edf-4fbb-b0e2-2ead5b38d415" providerId="ADAL" clId="{8CD114A1-4E37-472B-84CB-58CF44F01DB8}" dt="2020-03-01T17:29:36.522" v="5519" actId="208"/>
          <ac:spMkLst>
            <pc:docMk/>
            <pc:sldMk cId="912176157" sldId="598"/>
            <ac:spMk id="5" creationId="{4A23FE4A-7917-455F-B3F8-143380ED7FDC}"/>
          </ac:spMkLst>
        </pc:spChg>
        <pc:spChg chg="mod">
          <ac:chgData name="Susan Van Eyck" userId="662afd01-5edf-4fbb-b0e2-2ead5b38d415" providerId="ADAL" clId="{8CD114A1-4E37-472B-84CB-58CF44F01DB8}" dt="2020-03-01T17:28:56.740" v="5513" actId="207"/>
          <ac:spMkLst>
            <pc:docMk/>
            <pc:sldMk cId="912176157" sldId="598"/>
            <ac:spMk id="6" creationId="{CD1E3714-EC3E-49A0-A7B8-C998048E5399}"/>
          </ac:spMkLst>
        </pc:spChg>
        <pc:spChg chg="mod">
          <ac:chgData name="Susan Van Eyck" userId="662afd01-5edf-4fbb-b0e2-2ead5b38d415" providerId="ADAL" clId="{8CD114A1-4E37-472B-84CB-58CF44F01DB8}" dt="2020-03-01T17:30:40.469" v="5525" actId="208"/>
          <ac:spMkLst>
            <pc:docMk/>
            <pc:sldMk cId="912176157" sldId="598"/>
            <ac:spMk id="7" creationId="{4D0512CB-3C50-436C-AB31-C6F11DF5A247}"/>
          </ac:spMkLst>
        </pc:spChg>
        <pc:spChg chg="mod">
          <ac:chgData name="Susan Van Eyck" userId="662afd01-5edf-4fbb-b0e2-2ead5b38d415" providerId="ADAL" clId="{8CD114A1-4E37-472B-84CB-58CF44F01DB8}" dt="2020-03-01T17:28:56.740" v="5513" actId="207"/>
          <ac:spMkLst>
            <pc:docMk/>
            <pc:sldMk cId="912176157" sldId="598"/>
            <ac:spMk id="8" creationId="{A099D3D1-E97F-488A-84FC-979866DF1A24}"/>
          </ac:spMkLst>
        </pc:spChg>
        <pc:spChg chg="mod">
          <ac:chgData name="Susan Van Eyck" userId="662afd01-5edf-4fbb-b0e2-2ead5b38d415" providerId="ADAL" clId="{8CD114A1-4E37-472B-84CB-58CF44F01DB8}" dt="2020-03-01T17:28:56.740" v="5513" actId="207"/>
          <ac:spMkLst>
            <pc:docMk/>
            <pc:sldMk cId="912176157" sldId="598"/>
            <ac:spMk id="9" creationId="{94115A0A-C40B-4AE3-AD08-501F7DC9CD7B}"/>
          </ac:spMkLst>
        </pc:spChg>
        <pc:spChg chg="del mod">
          <ac:chgData name="Susan Van Eyck" userId="662afd01-5edf-4fbb-b0e2-2ead5b38d415" providerId="ADAL" clId="{8CD114A1-4E37-472B-84CB-58CF44F01DB8}" dt="2020-03-01T17:30:08.232" v="5523" actId="478"/>
          <ac:spMkLst>
            <pc:docMk/>
            <pc:sldMk cId="912176157" sldId="598"/>
            <ac:spMk id="16" creationId="{C15928DD-9970-4BD6-917A-EAA239E56DEE}"/>
          </ac:spMkLst>
        </pc:spChg>
        <pc:spChg chg="mod">
          <ac:chgData name="Susan Van Eyck" userId="662afd01-5edf-4fbb-b0e2-2ead5b38d415" providerId="ADAL" clId="{8CD114A1-4E37-472B-84CB-58CF44F01DB8}" dt="2020-03-01T17:29:15.507" v="5517" actId="207"/>
          <ac:spMkLst>
            <pc:docMk/>
            <pc:sldMk cId="912176157" sldId="598"/>
            <ac:spMk id="17" creationId="{F96CEAEF-DCED-49B3-9CCF-D3052C93926D}"/>
          </ac:spMkLst>
        </pc:spChg>
        <pc:spChg chg="mod">
          <ac:chgData name="Susan Van Eyck" userId="662afd01-5edf-4fbb-b0e2-2ead5b38d415" providerId="ADAL" clId="{8CD114A1-4E37-472B-84CB-58CF44F01DB8}" dt="2020-03-01T17:30:47.331" v="5526" actId="207"/>
          <ac:spMkLst>
            <pc:docMk/>
            <pc:sldMk cId="912176157" sldId="598"/>
            <ac:spMk id="18" creationId="{A2988021-07F7-42B3-992E-803D5CB01758}"/>
          </ac:spMkLst>
        </pc:spChg>
        <pc:spChg chg="mod">
          <ac:chgData name="Susan Van Eyck" userId="662afd01-5edf-4fbb-b0e2-2ead5b38d415" providerId="ADAL" clId="{8CD114A1-4E37-472B-84CB-58CF44F01DB8}" dt="2020-03-01T17:28:56.740" v="5513" actId="207"/>
          <ac:spMkLst>
            <pc:docMk/>
            <pc:sldMk cId="912176157" sldId="598"/>
            <ac:spMk id="43" creationId="{ACF46E9A-8DF0-49D0-A4C4-509ADE7DD96A}"/>
          </ac:spMkLst>
        </pc:spChg>
        <pc:spChg chg="mod">
          <ac:chgData name="Susan Van Eyck" userId="662afd01-5edf-4fbb-b0e2-2ead5b38d415" providerId="ADAL" clId="{8CD114A1-4E37-472B-84CB-58CF44F01DB8}" dt="2020-03-01T17:29:36.522" v="5519" actId="208"/>
          <ac:spMkLst>
            <pc:docMk/>
            <pc:sldMk cId="912176157" sldId="598"/>
            <ac:spMk id="44" creationId="{E814D9B9-871B-4708-8069-B15B55DE16A9}"/>
          </ac:spMkLst>
        </pc:spChg>
        <pc:spChg chg="mod">
          <ac:chgData name="Susan Van Eyck" userId="662afd01-5edf-4fbb-b0e2-2ead5b38d415" providerId="ADAL" clId="{8CD114A1-4E37-472B-84CB-58CF44F01DB8}" dt="2020-03-01T17:29:10.960" v="5516" actId="2085"/>
          <ac:spMkLst>
            <pc:docMk/>
            <pc:sldMk cId="912176157" sldId="598"/>
            <ac:spMk id="46" creationId="{AF6B6B5C-B4D7-478F-9B35-51F7FB5F9619}"/>
          </ac:spMkLst>
        </pc:spChg>
        <pc:spChg chg="mod">
          <ac:chgData name="Susan Van Eyck" userId="662afd01-5edf-4fbb-b0e2-2ead5b38d415" providerId="ADAL" clId="{8CD114A1-4E37-472B-84CB-58CF44F01DB8}" dt="2020-03-01T17:29:10.960" v="5516" actId="2085"/>
          <ac:spMkLst>
            <pc:docMk/>
            <pc:sldMk cId="912176157" sldId="598"/>
            <ac:spMk id="47" creationId="{F64522AB-E391-4601-BD5B-8DDCD0651EFA}"/>
          </ac:spMkLst>
        </pc:spChg>
        <pc:spChg chg="mod">
          <ac:chgData name="Susan Van Eyck" userId="662afd01-5edf-4fbb-b0e2-2ead5b38d415" providerId="ADAL" clId="{8CD114A1-4E37-472B-84CB-58CF44F01DB8}" dt="2020-03-01T17:29:10.960" v="5516" actId="2085"/>
          <ac:spMkLst>
            <pc:docMk/>
            <pc:sldMk cId="912176157" sldId="598"/>
            <ac:spMk id="52" creationId="{22D80CED-AC86-4B01-938D-566A927BC95D}"/>
          </ac:spMkLst>
        </pc:spChg>
        <pc:spChg chg="mod">
          <ac:chgData name="Susan Van Eyck" userId="662afd01-5edf-4fbb-b0e2-2ead5b38d415" providerId="ADAL" clId="{8CD114A1-4E37-472B-84CB-58CF44F01DB8}" dt="2020-03-01T17:29:59.376" v="5521" actId="2085"/>
          <ac:spMkLst>
            <pc:docMk/>
            <pc:sldMk cId="912176157" sldId="598"/>
            <ac:spMk id="53" creationId="{B69D37C5-01EA-457E-B428-14A48EA27BA1}"/>
          </ac:spMkLst>
        </pc:spChg>
        <pc:spChg chg="mod">
          <ac:chgData name="Susan Van Eyck" userId="662afd01-5edf-4fbb-b0e2-2ead5b38d415" providerId="ADAL" clId="{8CD114A1-4E37-472B-84CB-58CF44F01DB8}" dt="2020-03-01T17:29:36.522" v="5519" actId="208"/>
          <ac:spMkLst>
            <pc:docMk/>
            <pc:sldMk cId="912176157" sldId="598"/>
            <ac:spMk id="56" creationId="{56F49DBF-EC5E-478F-99A8-C87563D8A90A}"/>
          </ac:spMkLst>
        </pc:spChg>
        <pc:spChg chg="mod">
          <ac:chgData name="Susan Van Eyck" userId="662afd01-5edf-4fbb-b0e2-2ead5b38d415" providerId="ADAL" clId="{8CD114A1-4E37-472B-84CB-58CF44F01DB8}" dt="2020-03-01T17:29:36.522" v="5519" actId="208"/>
          <ac:spMkLst>
            <pc:docMk/>
            <pc:sldMk cId="912176157" sldId="598"/>
            <ac:spMk id="57" creationId="{040D187B-F677-43F0-8A25-05C1497D3F7A}"/>
          </ac:spMkLst>
        </pc:spChg>
        <pc:spChg chg="mod">
          <ac:chgData name="Susan Van Eyck" userId="662afd01-5edf-4fbb-b0e2-2ead5b38d415" providerId="ADAL" clId="{8CD114A1-4E37-472B-84CB-58CF44F01DB8}" dt="2020-03-01T17:29:59.376" v="5521" actId="2085"/>
          <ac:spMkLst>
            <pc:docMk/>
            <pc:sldMk cId="912176157" sldId="598"/>
            <ac:spMk id="102" creationId="{869411A2-B570-44DD-84EE-A8BBD962B783}"/>
          </ac:spMkLst>
        </pc:spChg>
        <pc:spChg chg="mod">
          <ac:chgData name="Susan Van Eyck" userId="662afd01-5edf-4fbb-b0e2-2ead5b38d415" providerId="ADAL" clId="{8CD114A1-4E37-472B-84CB-58CF44F01DB8}" dt="2020-03-01T17:29:59.376" v="5521" actId="2085"/>
          <ac:spMkLst>
            <pc:docMk/>
            <pc:sldMk cId="912176157" sldId="598"/>
            <ac:spMk id="166" creationId="{BE6BF429-C446-4121-98D6-FDD572473CFC}"/>
          </ac:spMkLst>
        </pc:spChg>
        <pc:spChg chg="mod">
          <ac:chgData name="Susan Van Eyck" userId="662afd01-5edf-4fbb-b0e2-2ead5b38d415" providerId="ADAL" clId="{8CD114A1-4E37-472B-84CB-58CF44F01DB8}" dt="2020-03-01T17:29:59.376" v="5521" actId="2085"/>
          <ac:spMkLst>
            <pc:docMk/>
            <pc:sldMk cId="912176157" sldId="598"/>
            <ac:spMk id="167" creationId="{07067F4E-7058-4CB6-A340-936A248376B1}"/>
          </ac:spMkLst>
        </pc:spChg>
        <pc:spChg chg="mod">
          <ac:chgData name="Susan Van Eyck" userId="662afd01-5edf-4fbb-b0e2-2ead5b38d415" providerId="ADAL" clId="{8CD114A1-4E37-472B-84CB-58CF44F01DB8}" dt="2020-03-01T17:30:40.469" v="5525" actId="208"/>
          <ac:spMkLst>
            <pc:docMk/>
            <pc:sldMk cId="912176157" sldId="598"/>
            <ac:spMk id="184" creationId="{A576E7BA-AD44-4077-98AB-38F5986EEE75}"/>
          </ac:spMkLst>
        </pc:spChg>
        <pc:spChg chg="mod">
          <ac:chgData name="Susan Van Eyck" userId="662afd01-5edf-4fbb-b0e2-2ead5b38d415" providerId="ADAL" clId="{8CD114A1-4E37-472B-84CB-58CF44F01DB8}" dt="2020-03-01T17:30:40.469" v="5525" actId="208"/>
          <ac:spMkLst>
            <pc:docMk/>
            <pc:sldMk cId="912176157" sldId="598"/>
            <ac:spMk id="185" creationId="{3D01C03A-9438-4463-87B6-2D69D6A55857}"/>
          </ac:spMkLst>
        </pc:spChg>
        <pc:spChg chg="mod">
          <ac:chgData name="Susan Van Eyck" userId="662afd01-5edf-4fbb-b0e2-2ead5b38d415" providerId="ADAL" clId="{8CD114A1-4E37-472B-84CB-58CF44F01DB8}" dt="2020-03-01T17:30:40.469" v="5525" actId="208"/>
          <ac:spMkLst>
            <pc:docMk/>
            <pc:sldMk cId="912176157" sldId="598"/>
            <ac:spMk id="205" creationId="{1A63C731-03BF-4250-9716-F3C037608B21}"/>
          </ac:spMkLst>
        </pc:spChg>
        <pc:spChg chg="mod">
          <ac:chgData name="Susan Van Eyck" userId="662afd01-5edf-4fbb-b0e2-2ead5b38d415" providerId="ADAL" clId="{8CD114A1-4E37-472B-84CB-58CF44F01DB8}" dt="2020-03-01T17:30:40.469" v="5525" actId="208"/>
          <ac:spMkLst>
            <pc:docMk/>
            <pc:sldMk cId="912176157" sldId="598"/>
            <ac:spMk id="207" creationId="{09A3D53B-18D9-46A2-B9D2-2930FEDBBF48}"/>
          </ac:spMkLst>
        </pc:spChg>
        <pc:spChg chg="mod">
          <ac:chgData name="Susan Van Eyck" userId="662afd01-5edf-4fbb-b0e2-2ead5b38d415" providerId="ADAL" clId="{8CD114A1-4E37-472B-84CB-58CF44F01DB8}" dt="2020-03-01T17:30:40.469" v="5525" actId="208"/>
          <ac:spMkLst>
            <pc:docMk/>
            <pc:sldMk cId="912176157" sldId="598"/>
            <ac:spMk id="208" creationId="{19356B23-A2F2-4DBE-907B-10B1EC44F268}"/>
          </ac:spMkLst>
        </pc:spChg>
        <pc:spChg chg="mod">
          <ac:chgData name="Susan Van Eyck" userId="662afd01-5edf-4fbb-b0e2-2ead5b38d415" providerId="ADAL" clId="{8CD114A1-4E37-472B-84CB-58CF44F01DB8}" dt="2020-03-01T17:29:36.522" v="5519" actId="208"/>
          <ac:spMkLst>
            <pc:docMk/>
            <pc:sldMk cId="912176157" sldId="598"/>
            <ac:spMk id="220" creationId="{8BDD8CE5-1799-421B-AAEA-8FBA00EE47BF}"/>
          </ac:spMkLst>
        </pc:spChg>
        <pc:grpChg chg="mod">
          <ac:chgData name="Susan Van Eyck" userId="662afd01-5edf-4fbb-b0e2-2ead5b38d415" providerId="ADAL" clId="{8CD114A1-4E37-472B-84CB-58CF44F01DB8}" dt="2020-03-01T17:29:28.555" v="5518" actId="207"/>
          <ac:grpSpMkLst>
            <pc:docMk/>
            <pc:sldMk cId="912176157" sldId="598"/>
            <ac:grpSpMk id="176" creationId="{A4FC965E-EE98-4951-8BF7-4096C522AB16}"/>
          </ac:grpSpMkLst>
        </pc:grpChg>
        <pc:grpChg chg="mod">
          <ac:chgData name="Susan Van Eyck" userId="662afd01-5edf-4fbb-b0e2-2ead5b38d415" providerId="ADAL" clId="{8CD114A1-4E37-472B-84CB-58CF44F01DB8}" dt="2020-03-01T17:30:31.431" v="5524" actId="207"/>
          <ac:grpSpMkLst>
            <pc:docMk/>
            <pc:sldMk cId="912176157" sldId="598"/>
            <ac:grpSpMk id="213" creationId="{C9B5E585-B2A4-4F6D-BFA9-8AFC896698DE}"/>
          </ac:grpSpMkLst>
        </pc:grpChg>
        <pc:grpChg chg="mod">
          <ac:chgData name="Susan Van Eyck" userId="662afd01-5edf-4fbb-b0e2-2ead5b38d415" providerId="ADAL" clId="{8CD114A1-4E37-472B-84CB-58CF44F01DB8}" dt="2020-03-01T17:30:31.431" v="5524" actId="207"/>
          <ac:grpSpMkLst>
            <pc:docMk/>
            <pc:sldMk cId="912176157" sldId="598"/>
            <ac:grpSpMk id="214" creationId="{88EB97DA-6C27-4347-AFDF-FF4DCF66AD4C}"/>
          </ac:grpSpMkLst>
        </pc:grpChg>
        <pc:grpChg chg="mod">
          <ac:chgData name="Susan Van Eyck" userId="662afd01-5edf-4fbb-b0e2-2ead5b38d415" providerId="ADAL" clId="{8CD114A1-4E37-472B-84CB-58CF44F01DB8}" dt="2020-03-01T17:30:31.431" v="5524" actId="207"/>
          <ac:grpSpMkLst>
            <pc:docMk/>
            <pc:sldMk cId="912176157" sldId="598"/>
            <ac:grpSpMk id="215" creationId="{0E3C9FAE-9D75-49F6-B3B3-D9CA856FC282}"/>
          </ac:grpSpMkLst>
        </pc:grpChg>
        <pc:grpChg chg="mod">
          <ac:chgData name="Susan Van Eyck" userId="662afd01-5edf-4fbb-b0e2-2ead5b38d415" providerId="ADAL" clId="{8CD114A1-4E37-472B-84CB-58CF44F01DB8}" dt="2020-03-01T17:28:56.740" v="5513" actId="207"/>
          <ac:grpSpMkLst>
            <pc:docMk/>
            <pc:sldMk cId="912176157" sldId="598"/>
            <ac:grpSpMk id="218" creationId="{6CD3DE22-A747-41D8-9F04-75CA42944856}"/>
          </ac:grpSpMkLst>
        </pc:grpChg>
        <pc:grpChg chg="mod">
          <ac:chgData name="Susan Van Eyck" userId="662afd01-5edf-4fbb-b0e2-2ead5b38d415" providerId="ADAL" clId="{8CD114A1-4E37-472B-84CB-58CF44F01DB8}" dt="2020-03-01T17:28:56.740" v="5513" actId="207"/>
          <ac:grpSpMkLst>
            <pc:docMk/>
            <pc:sldMk cId="912176157" sldId="598"/>
            <ac:grpSpMk id="219" creationId="{9E3EAE10-EB2A-426D-AC2D-58684F2DC6F3}"/>
          </ac:grpSpMkLst>
        </pc:grpChg>
        <pc:grpChg chg="mod">
          <ac:chgData name="Susan Van Eyck" userId="662afd01-5edf-4fbb-b0e2-2ead5b38d415" providerId="ADAL" clId="{8CD114A1-4E37-472B-84CB-58CF44F01DB8}" dt="2020-03-01T17:28:56.740" v="5513" actId="207"/>
          <ac:grpSpMkLst>
            <pc:docMk/>
            <pc:sldMk cId="912176157" sldId="598"/>
            <ac:grpSpMk id="227" creationId="{25D4076D-ACF6-46A7-A18E-898416AF2AF6}"/>
          </ac:grpSpMkLst>
        </pc:grpChg>
        <pc:picChg chg="mod">
          <ac:chgData name="Susan Van Eyck" userId="662afd01-5edf-4fbb-b0e2-2ead5b38d415" providerId="ADAL" clId="{8CD114A1-4E37-472B-84CB-58CF44F01DB8}" dt="2020-03-01T17:29:36.522" v="5519" actId="208"/>
          <ac:picMkLst>
            <pc:docMk/>
            <pc:sldMk cId="912176157" sldId="598"/>
            <ac:picMk id="168" creationId="{F5050608-2A68-499F-B1B1-01975C4187C2}"/>
          </ac:picMkLst>
        </pc:picChg>
        <pc:cxnChg chg="mod">
          <ac:chgData name="Susan Van Eyck" userId="662afd01-5edf-4fbb-b0e2-2ead5b38d415" providerId="ADAL" clId="{8CD114A1-4E37-472B-84CB-58CF44F01DB8}" dt="2020-03-01T17:28:56.740" v="5513" actId="207"/>
          <ac:cxnSpMkLst>
            <pc:docMk/>
            <pc:sldMk cId="912176157" sldId="598"/>
            <ac:cxnSpMk id="10" creationId="{9AE23C97-614F-4817-A14B-DE7434B6F545}"/>
          </ac:cxnSpMkLst>
        </pc:cxnChg>
        <pc:cxnChg chg="mod">
          <ac:chgData name="Susan Van Eyck" userId="662afd01-5edf-4fbb-b0e2-2ead5b38d415" providerId="ADAL" clId="{8CD114A1-4E37-472B-84CB-58CF44F01DB8}" dt="2020-03-01T17:28:56.740" v="5513" actId="207"/>
          <ac:cxnSpMkLst>
            <pc:docMk/>
            <pc:sldMk cId="912176157" sldId="598"/>
            <ac:cxnSpMk id="11" creationId="{D3180A51-8501-48EE-8997-B41C7FB07B6F}"/>
          </ac:cxnSpMkLst>
        </pc:cxnChg>
        <pc:cxnChg chg="mod">
          <ac:chgData name="Susan Van Eyck" userId="662afd01-5edf-4fbb-b0e2-2ead5b38d415" providerId="ADAL" clId="{8CD114A1-4E37-472B-84CB-58CF44F01DB8}" dt="2020-03-01T17:28:56.740" v="5513" actId="207"/>
          <ac:cxnSpMkLst>
            <pc:docMk/>
            <pc:sldMk cId="912176157" sldId="598"/>
            <ac:cxnSpMk id="12" creationId="{FB29E3DE-3ED8-4F48-87CD-34092C9CCDE5}"/>
          </ac:cxnSpMkLst>
        </pc:cxnChg>
        <pc:cxnChg chg="mod">
          <ac:chgData name="Susan Van Eyck" userId="662afd01-5edf-4fbb-b0e2-2ead5b38d415" providerId="ADAL" clId="{8CD114A1-4E37-472B-84CB-58CF44F01DB8}" dt="2020-03-01T17:28:56.740" v="5513" actId="207"/>
          <ac:cxnSpMkLst>
            <pc:docMk/>
            <pc:sldMk cId="912176157" sldId="598"/>
            <ac:cxnSpMk id="13" creationId="{F192FFEA-374F-4743-B56D-F83BC2A59A72}"/>
          </ac:cxnSpMkLst>
        </pc:cxnChg>
        <pc:cxnChg chg="mod">
          <ac:chgData name="Susan Van Eyck" userId="662afd01-5edf-4fbb-b0e2-2ead5b38d415" providerId="ADAL" clId="{8CD114A1-4E37-472B-84CB-58CF44F01DB8}" dt="2020-03-01T17:28:56.740" v="5513" actId="207"/>
          <ac:cxnSpMkLst>
            <pc:docMk/>
            <pc:sldMk cId="912176157" sldId="598"/>
            <ac:cxnSpMk id="81" creationId="{8C624867-2BD5-41E2-9B9D-E788DD54E823}"/>
          </ac:cxnSpMkLst>
        </pc:cxnChg>
        <pc:cxnChg chg="mod">
          <ac:chgData name="Susan Van Eyck" userId="662afd01-5edf-4fbb-b0e2-2ead5b38d415" providerId="ADAL" clId="{8CD114A1-4E37-472B-84CB-58CF44F01DB8}" dt="2020-03-01T17:28:56.740" v="5513" actId="207"/>
          <ac:cxnSpMkLst>
            <pc:docMk/>
            <pc:sldMk cId="912176157" sldId="598"/>
            <ac:cxnSpMk id="87" creationId="{1DF0E1FE-24FD-4B35-8C36-4391DBBE0825}"/>
          </ac:cxnSpMkLst>
        </pc:cxnChg>
        <pc:cxnChg chg="mod">
          <ac:chgData name="Susan Van Eyck" userId="662afd01-5edf-4fbb-b0e2-2ead5b38d415" providerId="ADAL" clId="{8CD114A1-4E37-472B-84CB-58CF44F01DB8}" dt="2020-03-01T17:28:56.740" v="5513" actId="207"/>
          <ac:cxnSpMkLst>
            <pc:docMk/>
            <pc:sldMk cId="912176157" sldId="598"/>
            <ac:cxnSpMk id="88" creationId="{D72B649E-F09E-4C36-8DE5-E01F3AEA33F6}"/>
          </ac:cxnSpMkLst>
        </pc:cxnChg>
      </pc:sldChg>
      <pc:sldChg chg="addSp delSp modSp add mod modAnim">
        <pc:chgData name="Susan Van Eyck" userId="662afd01-5edf-4fbb-b0e2-2ead5b38d415" providerId="ADAL" clId="{8CD114A1-4E37-472B-84CB-58CF44F01DB8}" dt="2020-03-05T15:34:20.482" v="23245" actId="207"/>
        <pc:sldMkLst>
          <pc:docMk/>
          <pc:sldMk cId="1218584360" sldId="599"/>
        </pc:sldMkLst>
        <pc:spChg chg="mod">
          <ac:chgData name="Susan Van Eyck" userId="662afd01-5edf-4fbb-b0e2-2ead5b38d415" providerId="ADAL" clId="{8CD114A1-4E37-472B-84CB-58CF44F01DB8}" dt="2020-03-01T17:40:27.444" v="5713" actId="20577"/>
          <ac:spMkLst>
            <pc:docMk/>
            <pc:sldMk cId="1218584360" sldId="599"/>
            <ac:spMk id="2" creationId="{8457C0F9-C014-4287-AEAE-9D7A7F5C79AA}"/>
          </ac:spMkLst>
        </pc:spChg>
        <pc:spChg chg="add del mod">
          <ac:chgData name="Susan Van Eyck" userId="662afd01-5edf-4fbb-b0e2-2ead5b38d415" providerId="ADAL" clId="{8CD114A1-4E37-472B-84CB-58CF44F01DB8}" dt="2020-03-01T17:31:20.261" v="5527" actId="478"/>
          <ac:spMkLst>
            <pc:docMk/>
            <pc:sldMk cId="1218584360" sldId="599"/>
            <ac:spMk id="3" creationId="{49644A2C-A764-4B4B-9BB1-883BE6D594A4}"/>
          </ac:spMkLst>
        </pc:spChg>
        <pc:spChg chg="add del">
          <ac:chgData name="Susan Van Eyck" userId="662afd01-5edf-4fbb-b0e2-2ead5b38d415" providerId="ADAL" clId="{8CD114A1-4E37-472B-84CB-58CF44F01DB8}" dt="2020-03-01T17:31:20.261" v="5527" actId="478"/>
          <ac:spMkLst>
            <pc:docMk/>
            <pc:sldMk cId="1218584360" sldId="599"/>
            <ac:spMk id="4" creationId="{222F7067-A970-4276-BB55-A21FB3843B35}"/>
          </ac:spMkLst>
        </pc:spChg>
        <pc:spChg chg="add del">
          <ac:chgData name="Susan Van Eyck" userId="662afd01-5edf-4fbb-b0e2-2ead5b38d415" providerId="ADAL" clId="{8CD114A1-4E37-472B-84CB-58CF44F01DB8}" dt="2020-03-01T17:31:20.261" v="5527" actId="478"/>
          <ac:spMkLst>
            <pc:docMk/>
            <pc:sldMk cId="1218584360" sldId="599"/>
            <ac:spMk id="5" creationId="{E5D248DB-519A-47FD-8C29-A4D6CB31B808}"/>
          </ac:spMkLst>
        </pc:spChg>
        <pc:spChg chg="add">
          <ac:chgData name="Susan Van Eyck" userId="662afd01-5edf-4fbb-b0e2-2ead5b38d415" providerId="ADAL" clId="{8CD114A1-4E37-472B-84CB-58CF44F01DB8}" dt="2020-03-01T17:31:20.850" v="5528"/>
          <ac:spMkLst>
            <pc:docMk/>
            <pc:sldMk cId="1218584360" sldId="599"/>
            <ac:spMk id="6" creationId="{BFC7C0A1-2F74-4069-AD21-BBBF74612150}"/>
          </ac:spMkLst>
        </pc:spChg>
        <pc:spChg chg="add">
          <ac:chgData name="Susan Van Eyck" userId="662afd01-5edf-4fbb-b0e2-2ead5b38d415" providerId="ADAL" clId="{8CD114A1-4E37-472B-84CB-58CF44F01DB8}" dt="2020-03-01T17:31:20.850" v="5528"/>
          <ac:spMkLst>
            <pc:docMk/>
            <pc:sldMk cId="1218584360" sldId="599"/>
            <ac:spMk id="7" creationId="{7D76D17F-7E38-4595-A424-B90C08E51442}"/>
          </ac:spMkLst>
        </pc:spChg>
        <pc:spChg chg="add">
          <ac:chgData name="Susan Van Eyck" userId="662afd01-5edf-4fbb-b0e2-2ead5b38d415" providerId="ADAL" clId="{8CD114A1-4E37-472B-84CB-58CF44F01DB8}" dt="2020-03-01T17:31:20.850" v="5528"/>
          <ac:spMkLst>
            <pc:docMk/>
            <pc:sldMk cId="1218584360" sldId="599"/>
            <ac:spMk id="8" creationId="{C58693FD-3FF2-4C45-A0A6-9C7B5CBF599F}"/>
          </ac:spMkLst>
        </pc:spChg>
        <pc:spChg chg="add mod">
          <ac:chgData name="Susan Van Eyck" userId="662afd01-5edf-4fbb-b0e2-2ead5b38d415" providerId="ADAL" clId="{8CD114A1-4E37-472B-84CB-58CF44F01DB8}" dt="2020-03-05T15:34:20.482" v="23245" actId="207"/>
          <ac:spMkLst>
            <pc:docMk/>
            <pc:sldMk cId="1218584360" sldId="599"/>
            <ac:spMk id="13" creationId="{9196D215-405F-4412-B753-1CA1DE5BD468}"/>
          </ac:spMkLst>
        </pc:spChg>
        <pc:spChg chg="add mod">
          <ac:chgData name="Susan Van Eyck" userId="662afd01-5edf-4fbb-b0e2-2ead5b38d415" providerId="ADAL" clId="{8CD114A1-4E37-472B-84CB-58CF44F01DB8}" dt="2020-03-05T15:34:15.147" v="23244" actId="207"/>
          <ac:spMkLst>
            <pc:docMk/>
            <pc:sldMk cId="1218584360" sldId="599"/>
            <ac:spMk id="14" creationId="{C9DE5FBF-93D2-4D41-848B-E8F33C01FE4F}"/>
          </ac:spMkLst>
        </pc:spChg>
        <pc:spChg chg="add">
          <ac:chgData name="Susan Van Eyck" userId="662afd01-5edf-4fbb-b0e2-2ead5b38d415" providerId="ADAL" clId="{8CD114A1-4E37-472B-84CB-58CF44F01DB8}" dt="2020-03-01T17:31:20.850" v="5528"/>
          <ac:spMkLst>
            <pc:docMk/>
            <pc:sldMk cId="1218584360" sldId="599"/>
            <ac:spMk id="15" creationId="{7FFF523D-B739-48CA-B07A-0E503BD7650D}"/>
          </ac:spMkLst>
        </pc:spChg>
        <pc:spChg chg="add">
          <ac:chgData name="Susan Van Eyck" userId="662afd01-5edf-4fbb-b0e2-2ead5b38d415" providerId="ADAL" clId="{8CD114A1-4E37-472B-84CB-58CF44F01DB8}" dt="2020-03-01T17:31:20.850" v="5528"/>
          <ac:spMkLst>
            <pc:docMk/>
            <pc:sldMk cId="1218584360" sldId="599"/>
            <ac:spMk id="16" creationId="{2A936519-79EC-4D24-954A-69BB91778B6C}"/>
          </ac:spMkLst>
        </pc:spChg>
        <pc:spChg chg="add">
          <ac:chgData name="Susan Van Eyck" userId="662afd01-5edf-4fbb-b0e2-2ead5b38d415" providerId="ADAL" clId="{8CD114A1-4E37-472B-84CB-58CF44F01DB8}" dt="2020-03-01T17:31:20.850" v="5528"/>
          <ac:spMkLst>
            <pc:docMk/>
            <pc:sldMk cId="1218584360" sldId="599"/>
            <ac:spMk id="17" creationId="{F438942B-A234-46BE-AA53-33829306248D}"/>
          </ac:spMkLst>
        </pc:spChg>
        <pc:spChg chg="add">
          <ac:chgData name="Susan Van Eyck" userId="662afd01-5edf-4fbb-b0e2-2ead5b38d415" providerId="ADAL" clId="{8CD114A1-4E37-472B-84CB-58CF44F01DB8}" dt="2020-03-01T17:31:20.850" v="5528"/>
          <ac:spMkLst>
            <pc:docMk/>
            <pc:sldMk cId="1218584360" sldId="599"/>
            <ac:spMk id="18" creationId="{0518DFA4-BA9C-48FB-A43F-D92AF7081BAD}"/>
          </ac:spMkLst>
        </pc:spChg>
        <pc:spChg chg="mod topLvl">
          <ac:chgData name="Susan Van Eyck" userId="662afd01-5edf-4fbb-b0e2-2ead5b38d415" providerId="ADAL" clId="{8CD114A1-4E37-472B-84CB-58CF44F01DB8}" dt="2020-03-03T14:27:01.910" v="9469" actId="208"/>
          <ac:spMkLst>
            <pc:docMk/>
            <pc:sldMk cId="1218584360" sldId="599"/>
            <ac:spMk id="20" creationId="{E2D7800E-50D8-4B63-A07C-A32884AFC57C}"/>
          </ac:spMkLst>
        </pc:spChg>
        <pc:spChg chg="mod topLvl">
          <ac:chgData name="Susan Van Eyck" userId="662afd01-5edf-4fbb-b0e2-2ead5b38d415" providerId="ADAL" clId="{8CD114A1-4E37-472B-84CB-58CF44F01DB8}" dt="2020-03-03T14:26:42.809" v="9468" actId="207"/>
          <ac:spMkLst>
            <pc:docMk/>
            <pc:sldMk cId="1218584360" sldId="599"/>
            <ac:spMk id="21" creationId="{DD09ADF9-36FD-40C4-87AA-4491CAC1D2A8}"/>
          </ac:spMkLst>
        </pc:spChg>
        <pc:spChg chg="mod topLvl">
          <ac:chgData name="Susan Van Eyck" userId="662afd01-5edf-4fbb-b0e2-2ead5b38d415" providerId="ADAL" clId="{8CD114A1-4E37-472B-84CB-58CF44F01DB8}" dt="2020-03-03T14:27:01.910" v="9469" actId="208"/>
          <ac:spMkLst>
            <pc:docMk/>
            <pc:sldMk cId="1218584360" sldId="599"/>
            <ac:spMk id="23" creationId="{7547513E-8734-4566-A5CA-C1C8BEC9127A}"/>
          </ac:spMkLst>
        </pc:spChg>
        <pc:spChg chg="mod topLvl">
          <ac:chgData name="Susan Van Eyck" userId="662afd01-5edf-4fbb-b0e2-2ead5b38d415" providerId="ADAL" clId="{8CD114A1-4E37-472B-84CB-58CF44F01DB8}" dt="2020-03-03T14:26:42.809" v="9468" actId="207"/>
          <ac:spMkLst>
            <pc:docMk/>
            <pc:sldMk cId="1218584360" sldId="599"/>
            <ac:spMk id="24" creationId="{25F73A9D-A49E-4E3A-8E26-7FFEE8C153AD}"/>
          </ac:spMkLst>
        </pc:spChg>
        <pc:spChg chg="add">
          <ac:chgData name="Susan Van Eyck" userId="662afd01-5edf-4fbb-b0e2-2ead5b38d415" providerId="ADAL" clId="{8CD114A1-4E37-472B-84CB-58CF44F01DB8}" dt="2020-03-01T17:31:20.850" v="5528"/>
          <ac:spMkLst>
            <pc:docMk/>
            <pc:sldMk cId="1218584360" sldId="599"/>
            <ac:spMk id="28" creationId="{9D9ABB42-3EEE-4991-A904-1E93BF9376D0}"/>
          </ac:spMkLst>
        </pc:spChg>
        <pc:spChg chg="add">
          <ac:chgData name="Susan Van Eyck" userId="662afd01-5edf-4fbb-b0e2-2ead5b38d415" providerId="ADAL" clId="{8CD114A1-4E37-472B-84CB-58CF44F01DB8}" dt="2020-03-01T17:31:20.850" v="5528"/>
          <ac:spMkLst>
            <pc:docMk/>
            <pc:sldMk cId="1218584360" sldId="599"/>
            <ac:spMk id="29" creationId="{FE4ADB71-B3C1-4158-9057-EAB365183A97}"/>
          </ac:spMkLst>
        </pc:spChg>
        <pc:spChg chg="add mod">
          <ac:chgData name="Susan Van Eyck" userId="662afd01-5edf-4fbb-b0e2-2ead5b38d415" providerId="ADAL" clId="{8CD114A1-4E37-472B-84CB-58CF44F01DB8}" dt="2020-03-01T17:33:48.199" v="5533" actId="14100"/>
          <ac:spMkLst>
            <pc:docMk/>
            <pc:sldMk cId="1218584360" sldId="599"/>
            <ac:spMk id="30" creationId="{14F539A5-CDE9-43CD-9F77-E9D44F680226}"/>
          </ac:spMkLst>
        </pc:spChg>
        <pc:spChg chg="mod topLvl">
          <ac:chgData name="Susan Van Eyck" userId="662afd01-5edf-4fbb-b0e2-2ead5b38d415" providerId="ADAL" clId="{8CD114A1-4E37-472B-84CB-58CF44F01DB8}" dt="2020-03-03T14:27:01.910" v="9469" actId="208"/>
          <ac:spMkLst>
            <pc:docMk/>
            <pc:sldMk cId="1218584360" sldId="599"/>
            <ac:spMk id="32" creationId="{2F982027-B6C9-48A1-BABB-1F7FE28A1786}"/>
          </ac:spMkLst>
        </pc:spChg>
        <pc:spChg chg="add mod">
          <ac:chgData name="Susan Van Eyck" userId="662afd01-5edf-4fbb-b0e2-2ead5b38d415" providerId="ADAL" clId="{8CD114A1-4E37-472B-84CB-58CF44F01DB8}" dt="2020-03-01T17:33:48.199" v="5533" actId="14100"/>
          <ac:spMkLst>
            <pc:docMk/>
            <pc:sldMk cId="1218584360" sldId="599"/>
            <ac:spMk id="34" creationId="{B776791C-DD4D-45A7-96ED-A75DE9B4541C}"/>
          </ac:spMkLst>
        </pc:spChg>
        <pc:spChg chg="mod topLvl">
          <ac:chgData name="Susan Van Eyck" userId="662afd01-5edf-4fbb-b0e2-2ead5b38d415" providerId="ADAL" clId="{8CD114A1-4E37-472B-84CB-58CF44F01DB8}" dt="2020-03-05T15:32:41.921" v="23237" actId="208"/>
          <ac:spMkLst>
            <pc:docMk/>
            <pc:sldMk cId="1218584360" sldId="599"/>
            <ac:spMk id="36" creationId="{C5734900-65DF-4205-8D84-6248F7F50557}"/>
          </ac:spMkLst>
        </pc:spChg>
        <pc:spChg chg="mod topLvl">
          <ac:chgData name="Susan Van Eyck" userId="662afd01-5edf-4fbb-b0e2-2ead5b38d415" providerId="ADAL" clId="{8CD114A1-4E37-472B-84CB-58CF44F01DB8}" dt="2020-03-05T15:33:04.160" v="23239" actId="207"/>
          <ac:spMkLst>
            <pc:docMk/>
            <pc:sldMk cId="1218584360" sldId="599"/>
            <ac:spMk id="37" creationId="{147A0AD7-2116-400A-8EF8-729010B19738}"/>
          </ac:spMkLst>
        </pc:spChg>
        <pc:spChg chg="mod topLvl">
          <ac:chgData name="Susan Van Eyck" userId="662afd01-5edf-4fbb-b0e2-2ead5b38d415" providerId="ADAL" clId="{8CD114A1-4E37-472B-84CB-58CF44F01DB8}" dt="2020-03-05T15:32:41.921" v="23237" actId="208"/>
          <ac:spMkLst>
            <pc:docMk/>
            <pc:sldMk cId="1218584360" sldId="599"/>
            <ac:spMk id="39" creationId="{A696857C-B66F-49B4-A3D4-06401B99FE28}"/>
          </ac:spMkLst>
        </pc:spChg>
        <pc:spChg chg="mod topLvl">
          <ac:chgData name="Susan Van Eyck" userId="662afd01-5edf-4fbb-b0e2-2ead5b38d415" providerId="ADAL" clId="{8CD114A1-4E37-472B-84CB-58CF44F01DB8}" dt="2020-03-05T15:33:04.160" v="23239" actId="207"/>
          <ac:spMkLst>
            <pc:docMk/>
            <pc:sldMk cId="1218584360" sldId="599"/>
            <ac:spMk id="40" creationId="{24C98E8A-EBD2-4790-B61E-553177E1509B}"/>
          </ac:spMkLst>
        </pc:spChg>
        <pc:spChg chg="mod topLvl">
          <ac:chgData name="Susan Van Eyck" userId="662afd01-5edf-4fbb-b0e2-2ead5b38d415" providerId="ADAL" clId="{8CD114A1-4E37-472B-84CB-58CF44F01DB8}" dt="2020-03-05T15:32:54.941" v="23238" actId="208"/>
          <ac:spMkLst>
            <pc:docMk/>
            <pc:sldMk cId="1218584360" sldId="599"/>
            <ac:spMk id="42" creationId="{7D9B2EB9-C321-423C-B136-2DA0A063B990}"/>
          </ac:spMkLst>
        </pc:spChg>
        <pc:spChg chg="mod topLvl">
          <ac:chgData name="Susan Van Eyck" userId="662afd01-5edf-4fbb-b0e2-2ead5b38d415" providerId="ADAL" clId="{8CD114A1-4E37-472B-84CB-58CF44F01DB8}" dt="2020-03-01T17:36:27.699" v="5551" actId="114"/>
          <ac:spMkLst>
            <pc:docMk/>
            <pc:sldMk cId="1218584360" sldId="599"/>
            <ac:spMk id="43" creationId="{C33D533E-134F-4A79-BCD6-9E4599C1E0A7}"/>
          </ac:spMkLst>
        </pc:spChg>
        <pc:spChg chg="mod topLvl">
          <ac:chgData name="Susan Van Eyck" userId="662afd01-5edf-4fbb-b0e2-2ead5b38d415" providerId="ADAL" clId="{8CD114A1-4E37-472B-84CB-58CF44F01DB8}" dt="2020-03-03T14:27:01.910" v="9469" actId="208"/>
          <ac:spMkLst>
            <pc:docMk/>
            <pc:sldMk cId="1218584360" sldId="599"/>
            <ac:spMk id="45" creationId="{E2A0C246-C86C-4D8C-99F7-931838B3B69E}"/>
          </ac:spMkLst>
        </pc:spChg>
        <pc:spChg chg="mod topLvl">
          <ac:chgData name="Susan Van Eyck" userId="662afd01-5edf-4fbb-b0e2-2ead5b38d415" providerId="ADAL" clId="{8CD114A1-4E37-472B-84CB-58CF44F01DB8}" dt="2020-03-03T14:26:42.809" v="9468" actId="207"/>
          <ac:spMkLst>
            <pc:docMk/>
            <pc:sldMk cId="1218584360" sldId="599"/>
            <ac:spMk id="46" creationId="{B082EBBF-ED3B-4608-9EFC-A8035900C528}"/>
          </ac:spMkLst>
        </pc:spChg>
        <pc:grpChg chg="add del">
          <ac:chgData name="Susan Van Eyck" userId="662afd01-5edf-4fbb-b0e2-2ead5b38d415" providerId="ADAL" clId="{8CD114A1-4E37-472B-84CB-58CF44F01DB8}" dt="2020-03-01T17:32:36.513" v="5529" actId="165"/>
          <ac:grpSpMkLst>
            <pc:docMk/>
            <pc:sldMk cId="1218584360" sldId="599"/>
            <ac:grpSpMk id="19" creationId="{15DB17D3-9BC9-4716-92A0-B702050756B4}"/>
          </ac:grpSpMkLst>
        </pc:grpChg>
        <pc:grpChg chg="add del">
          <ac:chgData name="Susan Van Eyck" userId="662afd01-5edf-4fbb-b0e2-2ead5b38d415" providerId="ADAL" clId="{8CD114A1-4E37-472B-84CB-58CF44F01DB8}" dt="2020-03-01T17:32:36.513" v="5529" actId="165"/>
          <ac:grpSpMkLst>
            <pc:docMk/>
            <pc:sldMk cId="1218584360" sldId="599"/>
            <ac:grpSpMk id="22" creationId="{D7DD88CC-837E-415B-B441-4D257FF3DBFA}"/>
          </ac:grpSpMkLst>
        </pc:grpChg>
        <pc:grpChg chg="add del">
          <ac:chgData name="Susan Van Eyck" userId="662afd01-5edf-4fbb-b0e2-2ead5b38d415" providerId="ADAL" clId="{8CD114A1-4E37-472B-84CB-58CF44F01DB8}" dt="2020-03-01T17:32:36.513" v="5529" actId="165"/>
          <ac:grpSpMkLst>
            <pc:docMk/>
            <pc:sldMk cId="1218584360" sldId="599"/>
            <ac:grpSpMk id="31" creationId="{13EB7D49-8AAE-40EB-B22E-DA058FE4FD27}"/>
          </ac:grpSpMkLst>
        </pc:grpChg>
        <pc:grpChg chg="add del">
          <ac:chgData name="Susan Van Eyck" userId="662afd01-5edf-4fbb-b0e2-2ead5b38d415" providerId="ADAL" clId="{8CD114A1-4E37-472B-84CB-58CF44F01DB8}" dt="2020-03-01T17:32:36.513" v="5529" actId="165"/>
          <ac:grpSpMkLst>
            <pc:docMk/>
            <pc:sldMk cId="1218584360" sldId="599"/>
            <ac:grpSpMk id="35" creationId="{08A0161B-BBB2-48E3-AAC4-B914B354FDB6}"/>
          </ac:grpSpMkLst>
        </pc:grpChg>
        <pc:grpChg chg="add del">
          <ac:chgData name="Susan Van Eyck" userId="662afd01-5edf-4fbb-b0e2-2ead5b38d415" providerId="ADAL" clId="{8CD114A1-4E37-472B-84CB-58CF44F01DB8}" dt="2020-03-01T17:32:36.513" v="5529" actId="165"/>
          <ac:grpSpMkLst>
            <pc:docMk/>
            <pc:sldMk cId="1218584360" sldId="599"/>
            <ac:grpSpMk id="38" creationId="{B35CDC6A-D144-49C2-908B-1BBE2AEBCBC1}"/>
          </ac:grpSpMkLst>
        </pc:grpChg>
        <pc:grpChg chg="add del">
          <ac:chgData name="Susan Van Eyck" userId="662afd01-5edf-4fbb-b0e2-2ead5b38d415" providerId="ADAL" clId="{8CD114A1-4E37-472B-84CB-58CF44F01DB8}" dt="2020-03-01T17:32:36.513" v="5529" actId="165"/>
          <ac:grpSpMkLst>
            <pc:docMk/>
            <pc:sldMk cId="1218584360" sldId="599"/>
            <ac:grpSpMk id="41" creationId="{CDFB6C85-3343-4FAF-B88F-87278FBE1798}"/>
          </ac:grpSpMkLst>
        </pc:grpChg>
        <pc:grpChg chg="add del">
          <ac:chgData name="Susan Van Eyck" userId="662afd01-5edf-4fbb-b0e2-2ead5b38d415" providerId="ADAL" clId="{8CD114A1-4E37-472B-84CB-58CF44F01DB8}" dt="2020-03-01T17:32:36.513" v="5529" actId="165"/>
          <ac:grpSpMkLst>
            <pc:docMk/>
            <pc:sldMk cId="1218584360" sldId="599"/>
            <ac:grpSpMk id="44" creationId="{B1E8FE85-87F4-4BDA-A6D2-64BCF80D091B}"/>
          </ac:grpSpMkLst>
        </pc:grpChg>
        <pc:picChg chg="add del">
          <ac:chgData name="Susan Van Eyck" userId="662afd01-5edf-4fbb-b0e2-2ead5b38d415" providerId="ADAL" clId="{8CD114A1-4E37-472B-84CB-58CF44F01DB8}" dt="2020-03-05T15:33:31.838" v="23241" actId="478"/>
          <ac:picMkLst>
            <pc:docMk/>
            <pc:sldMk cId="1218584360" sldId="599"/>
            <ac:picMk id="3" creationId="{45255210-9001-44AB-B98C-46CE9248BEF3}"/>
          </ac:picMkLst>
        </pc:picChg>
        <pc:picChg chg="mod topLvl">
          <ac:chgData name="Susan Van Eyck" userId="662afd01-5edf-4fbb-b0e2-2ead5b38d415" providerId="ADAL" clId="{8CD114A1-4E37-472B-84CB-58CF44F01DB8}" dt="2020-03-01T17:32:36.513" v="5529" actId="165"/>
          <ac:picMkLst>
            <pc:docMk/>
            <pc:sldMk cId="1218584360" sldId="599"/>
            <ac:picMk id="33" creationId="{F0D923B1-5D1B-4BD3-84DC-2611F615CF91}"/>
          </ac:picMkLst>
        </pc:picChg>
        <pc:cxnChg chg="add mod">
          <ac:chgData name="Susan Van Eyck" userId="662afd01-5edf-4fbb-b0e2-2ead5b38d415" providerId="ADAL" clId="{8CD114A1-4E37-472B-84CB-58CF44F01DB8}" dt="2020-03-01T17:32:47.299" v="5530" actId="14100"/>
          <ac:cxnSpMkLst>
            <pc:docMk/>
            <pc:sldMk cId="1218584360" sldId="599"/>
            <ac:cxnSpMk id="9" creationId="{B27FFA34-293B-4AFE-AC20-A5338849A9FA}"/>
          </ac:cxnSpMkLst>
        </pc:cxnChg>
        <pc:cxnChg chg="add mod">
          <ac:chgData name="Susan Van Eyck" userId="662afd01-5edf-4fbb-b0e2-2ead5b38d415" providerId="ADAL" clId="{8CD114A1-4E37-472B-84CB-58CF44F01DB8}" dt="2020-03-01T17:32:47.299" v="5530" actId="14100"/>
          <ac:cxnSpMkLst>
            <pc:docMk/>
            <pc:sldMk cId="1218584360" sldId="599"/>
            <ac:cxnSpMk id="10" creationId="{CED453A2-DCBE-445F-8775-37C98D281F39}"/>
          </ac:cxnSpMkLst>
        </pc:cxnChg>
        <pc:cxnChg chg="add mod">
          <ac:chgData name="Susan Van Eyck" userId="662afd01-5edf-4fbb-b0e2-2ead5b38d415" providerId="ADAL" clId="{8CD114A1-4E37-472B-84CB-58CF44F01DB8}" dt="2020-03-01T17:32:47.299" v="5530" actId="14100"/>
          <ac:cxnSpMkLst>
            <pc:docMk/>
            <pc:sldMk cId="1218584360" sldId="599"/>
            <ac:cxnSpMk id="11" creationId="{C2A94707-30D2-4F50-B62F-8616FBE1B6D7}"/>
          </ac:cxnSpMkLst>
        </pc:cxnChg>
        <pc:cxnChg chg="add">
          <ac:chgData name="Susan Van Eyck" userId="662afd01-5edf-4fbb-b0e2-2ead5b38d415" providerId="ADAL" clId="{8CD114A1-4E37-472B-84CB-58CF44F01DB8}" dt="2020-03-01T17:31:20.850" v="5528"/>
          <ac:cxnSpMkLst>
            <pc:docMk/>
            <pc:sldMk cId="1218584360" sldId="599"/>
            <ac:cxnSpMk id="12" creationId="{AA7C50CA-13D5-42EE-A44A-DB42287EC6BC}"/>
          </ac:cxnSpMkLst>
        </pc:cxnChg>
        <pc:cxnChg chg="add">
          <ac:chgData name="Susan Van Eyck" userId="662afd01-5edf-4fbb-b0e2-2ead5b38d415" providerId="ADAL" clId="{8CD114A1-4E37-472B-84CB-58CF44F01DB8}" dt="2020-03-01T17:31:20.850" v="5528"/>
          <ac:cxnSpMkLst>
            <pc:docMk/>
            <pc:sldMk cId="1218584360" sldId="599"/>
            <ac:cxnSpMk id="25" creationId="{35EF3E75-7911-40BC-BC80-CE8C1E5B69EE}"/>
          </ac:cxnSpMkLst>
        </pc:cxnChg>
        <pc:cxnChg chg="add">
          <ac:chgData name="Susan Van Eyck" userId="662afd01-5edf-4fbb-b0e2-2ead5b38d415" providerId="ADAL" clId="{8CD114A1-4E37-472B-84CB-58CF44F01DB8}" dt="2020-03-01T17:31:20.850" v="5528"/>
          <ac:cxnSpMkLst>
            <pc:docMk/>
            <pc:sldMk cId="1218584360" sldId="599"/>
            <ac:cxnSpMk id="26" creationId="{E950B28D-53E2-40BB-81E3-1BFAB4438841}"/>
          </ac:cxnSpMkLst>
        </pc:cxnChg>
        <pc:cxnChg chg="add">
          <ac:chgData name="Susan Van Eyck" userId="662afd01-5edf-4fbb-b0e2-2ead5b38d415" providerId="ADAL" clId="{8CD114A1-4E37-472B-84CB-58CF44F01DB8}" dt="2020-03-01T17:31:20.850" v="5528"/>
          <ac:cxnSpMkLst>
            <pc:docMk/>
            <pc:sldMk cId="1218584360" sldId="599"/>
            <ac:cxnSpMk id="27" creationId="{7BF6FF2B-5C03-4F27-BA7F-1BC5E614BB3E}"/>
          </ac:cxnSpMkLst>
        </pc:cxnChg>
      </pc:sldChg>
      <pc:sldChg chg="addSp delSp modSp add mod">
        <pc:chgData name="Susan Van Eyck" userId="662afd01-5edf-4fbb-b0e2-2ead5b38d415" providerId="ADAL" clId="{8CD114A1-4E37-472B-84CB-58CF44F01DB8}" dt="2020-03-02T23:34:48.378" v="9436" actId="12100"/>
        <pc:sldMkLst>
          <pc:docMk/>
          <pc:sldMk cId="4036460243" sldId="600"/>
        </pc:sldMkLst>
        <pc:spChg chg="mod">
          <ac:chgData name="Susan Van Eyck" userId="662afd01-5edf-4fbb-b0e2-2ead5b38d415" providerId="ADAL" clId="{8CD114A1-4E37-472B-84CB-58CF44F01DB8}" dt="2020-03-01T17:46:41.205" v="5848" actId="20577"/>
          <ac:spMkLst>
            <pc:docMk/>
            <pc:sldMk cId="4036460243" sldId="600"/>
            <ac:spMk id="2" creationId="{DD9896C1-D93C-40B3-8742-56FF61DF6A23}"/>
          </ac:spMkLst>
        </pc:spChg>
        <pc:spChg chg="del mod">
          <ac:chgData name="Susan Van Eyck" userId="662afd01-5edf-4fbb-b0e2-2ead5b38d415" providerId="ADAL" clId="{8CD114A1-4E37-472B-84CB-58CF44F01DB8}" dt="2020-03-02T23:34:13.066" v="9434" actId="12084"/>
          <ac:spMkLst>
            <pc:docMk/>
            <pc:sldMk cId="4036460243" sldId="600"/>
            <ac:spMk id="4" creationId="{A9A93522-88C0-4C61-8AAA-1B548F7B3017}"/>
          </ac:spMkLst>
        </pc:spChg>
        <pc:graphicFrameChg chg="add mod">
          <ac:chgData name="Susan Van Eyck" userId="662afd01-5edf-4fbb-b0e2-2ead5b38d415" providerId="ADAL" clId="{8CD114A1-4E37-472B-84CB-58CF44F01DB8}" dt="2020-03-02T23:34:48.378" v="9436" actId="12100"/>
          <ac:graphicFrameMkLst>
            <pc:docMk/>
            <pc:sldMk cId="4036460243" sldId="600"/>
            <ac:graphicFrameMk id="5" creationId="{1B861204-D846-41FC-B02C-A907BD31A589}"/>
          </ac:graphicFrameMkLst>
        </pc:graphicFrameChg>
      </pc:sldChg>
      <pc:sldChg chg="addSp delSp modSp add mod ord modClrScheme chgLayout modNotesTx">
        <pc:chgData name="Susan Van Eyck" userId="662afd01-5edf-4fbb-b0e2-2ead5b38d415" providerId="ADAL" clId="{8CD114A1-4E37-472B-84CB-58CF44F01DB8}" dt="2020-03-05T15:54:15.560" v="23374" actId="20577"/>
        <pc:sldMkLst>
          <pc:docMk/>
          <pc:sldMk cId="2755635819" sldId="601"/>
        </pc:sldMkLst>
        <pc:spChg chg="mod ord">
          <ac:chgData name="Susan Van Eyck" userId="662afd01-5edf-4fbb-b0e2-2ead5b38d415" providerId="ADAL" clId="{8CD114A1-4E37-472B-84CB-58CF44F01DB8}" dt="2020-03-01T19:30:51.746" v="9079" actId="20577"/>
          <ac:spMkLst>
            <pc:docMk/>
            <pc:sldMk cId="2755635819" sldId="601"/>
            <ac:spMk id="2" creationId="{12AABA69-9C46-44FA-AD49-9757011DFE55}"/>
          </ac:spMkLst>
        </pc:spChg>
        <pc:spChg chg="del mod ord">
          <ac:chgData name="Susan Van Eyck" userId="662afd01-5edf-4fbb-b0e2-2ead5b38d415" providerId="ADAL" clId="{8CD114A1-4E37-472B-84CB-58CF44F01DB8}" dt="2020-03-01T18:07:46.911" v="6294" actId="700"/>
          <ac:spMkLst>
            <pc:docMk/>
            <pc:sldMk cId="2755635819" sldId="601"/>
            <ac:spMk id="3" creationId="{59816007-5353-4BFD-94A3-F5B777596BF4}"/>
          </ac:spMkLst>
        </pc:spChg>
        <pc:spChg chg="del mod ord">
          <ac:chgData name="Susan Van Eyck" userId="662afd01-5edf-4fbb-b0e2-2ead5b38d415" providerId="ADAL" clId="{8CD114A1-4E37-472B-84CB-58CF44F01DB8}" dt="2020-03-03T14:22:00.723" v="9442" actId="12084"/>
          <ac:spMkLst>
            <pc:docMk/>
            <pc:sldMk cId="2755635819" sldId="601"/>
            <ac:spMk id="4" creationId="{668D1C75-AAAE-4939-9CF2-50A0DBD48DDE}"/>
          </ac:spMkLst>
        </pc:spChg>
        <pc:spChg chg="add del mod ord">
          <ac:chgData name="Susan Van Eyck" userId="662afd01-5edf-4fbb-b0e2-2ead5b38d415" providerId="ADAL" clId="{8CD114A1-4E37-472B-84CB-58CF44F01DB8}" dt="2020-03-03T14:22:07.774" v="9443" actId="12084"/>
          <ac:spMkLst>
            <pc:docMk/>
            <pc:sldMk cId="2755635819" sldId="601"/>
            <ac:spMk id="5" creationId="{232DC358-01A0-4928-9583-0E5E365E8E34}"/>
          </ac:spMkLst>
        </pc:spChg>
        <pc:spChg chg="add del mod">
          <ac:chgData name="Susan Van Eyck" userId="662afd01-5edf-4fbb-b0e2-2ead5b38d415" providerId="ADAL" clId="{8CD114A1-4E37-472B-84CB-58CF44F01DB8}" dt="2020-03-01T19:15:33.865" v="8665" actId="6264"/>
          <ac:spMkLst>
            <pc:docMk/>
            <pc:sldMk cId="2755635819" sldId="601"/>
            <ac:spMk id="6" creationId="{2131DB5E-8909-4DA5-A155-B34B59D0267F}"/>
          </ac:spMkLst>
        </pc:spChg>
        <pc:spChg chg="add del mod">
          <ac:chgData name="Susan Van Eyck" userId="662afd01-5edf-4fbb-b0e2-2ead5b38d415" providerId="ADAL" clId="{8CD114A1-4E37-472B-84CB-58CF44F01DB8}" dt="2020-03-01T19:15:33.865" v="8665" actId="6264"/>
          <ac:spMkLst>
            <pc:docMk/>
            <pc:sldMk cId="2755635819" sldId="601"/>
            <ac:spMk id="7" creationId="{E4DC82A9-F4EC-4138-B7EE-AF6E37E383F2}"/>
          </ac:spMkLst>
        </pc:spChg>
        <pc:spChg chg="add del mod">
          <ac:chgData name="Susan Van Eyck" userId="662afd01-5edf-4fbb-b0e2-2ead5b38d415" providerId="ADAL" clId="{8CD114A1-4E37-472B-84CB-58CF44F01DB8}" dt="2020-03-01T19:15:33.865" v="8665" actId="6264"/>
          <ac:spMkLst>
            <pc:docMk/>
            <pc:sldMk cId="2755635819" sldId="601"/>
            <ac:spMk id="8" creationId="{36B0791C-DC1F-4F19-A71E-F320D9235EE9}"/>
          </ac:spMkLst>
        </pc:spChg>
        <pc:spChg chg="add del mod">
          <ac:chgData name="Susan Van Eyck" userId="662afd01-5edf-4fbb-b0e2-2ead5b38d415" providerId="ADAL" clId="{8CD114A1-4E37-472B-84CB-58CF44F01DB8}" dt="2020-03-01T19:15:36.500" v="8666" actId="6264"/>
          <ac:spMkLst>
            <pc:docMk/>
            <pc:sldMk cId="2755635819" sldId="601"/>
            <ac:spMk id="9" creationId="{9BB746F9-6940-4B91-84BE-E130EE5D4526}"/>
          </ac:spMkLst>
        </pc:spChg>
        <pc:spChg chg="add del mod">
          <ac:chgData name="Susan Van Eyck" userId="662afd01-5edf-4fbb-b0e2-2ead5b38d415" providerId="ADAL" clId="{8CD114A1-4E37-472B-84CB-58CF44F01DB8}" dt="2020-03-01T19:15:36.500" v="8666" actId="6264"/>
          <ac:spMkLst>
            <pc:docMk/>
            <pc:sldMk cId="2755635819" sldId="601"/>
            <ac:spMk id="10" creationId="{D22F52DA-1DEC-4C84-9082-28DB82B963D3}"/>
          </ac:spMkLst>
        </pc:spChg>
        <pc:spChg chg="add del mod">
          <ac:chgData name="Susan Van Eyck" userId="662afd01-5edf-4fbb-b0e2-2ead5b38d415" providerId="ADAL" clId="{8CD114A1-4E37-472B-84CB-58CF44F01DB8}" dt="2020-03-01T19:15:36.500" v="8666" actId="6264"/>
          <ac:spMkLst>
            <pc:docMk/>
            <pc:sldMk cId="2755635819" sldId="601"/>
            <ac:spMk id="11" creationId="{C21DA292-1506-4AC8-86E4-6AB29B063EB1}"/>
          </ac:spMkLst>
        </pc:spChg>
        <pc:graphicFrameChg chg="add mod">
          <ac:chgData name="Susan Van Eyck" userId="662afd01-5edf-4fbb-b0e2-2ead5b38d415" providerId="ADAL" clId="{8CD114A1-4E37-472B-84CB-58CF44F01DB8}" dt="2020-03-05T15:46:10.895" v="23297" actId="14100"/>
          <ac:graphicFrameMkLst>
            <pc:docMk/>
            <pc:sldMk cId="2755635819" sldId="601"/>
            <ac:graphicFrameMk id="3" creationId="{B1177D7A-652A-43DC-9ADD-4C1FD68BD163}"/>
          </ac:graphicFrameMkLst>
        </pc:graphicFrameChg>
        <pc:graphicFrameChg chg="add mod">
          <ac:chgData name="Susan Van Eyck" userId="662afd01-5edf-4fbb-b0e2-2ead5b38d415" providerId="ADAL" clId="{8CD114A1-4E37-472B-84CB-58CF44F01DB8}" dt="2020-03-05T15:45:49.987" v="23294" actId="20577"/>
          <ac:graphicFrameMkLst>
            <pc:docMk/>
            <pc:sldMk cId="2755635819" sldId="601"/>
            <ac:graphicFrameMk id="6" creationId="{CCAAFC70-617F-42FA-BFBD-4688C0B2E2C1}"/>
          </ac:graphicFrameMkLst>
        </pc:graphicFrameChg>
      </pc:sldChg>
      <pc:sldChg chg="add del">
        <pc:chgData name="Susan Van Eyck" userId="662afd01-5edf-4fbb-b0e2-2ead5b38d415" providerId="ADAL" clId="{8CD114A1-4E37-472B-84CB-58CF44F01DB8}" dt="2020-03-01T19:26:01.117" v="8964" actId="47"/>
        <pc:sldMkLst>
          <pc:docMk/>
          <pc:sldMk cId="2935113191" sldId="602"/>
        </pc:sldMkLst>
      </pc:sldChg>
      <pc:sldChg chg="addSp delSp modSp add mod ord modNotesTx">
        <pc:chgData name="Susan Van Eyck" userId="662afd01-5edf-4fbb-b0e2-2ead5b38d415" providerId="ADAL" clId="{8CD114A1-4E37-472B-84CB-58CF44F01DB8}" dt="2020-03-04T21:00:55.928" v="23083" actId="15"/>
        <pc:sldMkLst>
          <pc:docMk/>
          <pc:sldMk cId="2751078201" sldId="603"/>
        </pc:sldMkLst>
        <pc:spChg chg="mod">
          <ac:chgData name="Susan Van Eyck" userId="662afd01-5edf-4fbb-b0e2-2ead5b38d415" providerId="ADAL" clId="{8CD114A1-4E37-472B-84CB-58CF44F01DB8}" dt="2020-03-01T18:06:23.585" v="6293" actId="20577"/>
          <ac:spMkLst>
            <pc:docMk/>
            <pc:sldMk cId="2751078201" sldId="603"/>
            <ac:spMk id="2" creationId="{2DEC3ABB-B3CF-4649-A7A7-161771B460C1}"/>
          </ac:spMkLst>
        </pc:spChg>
        <pc:spChg chg="add mod">
          <ac:chgData name="Susan Van Eyck" userId="662afd01-5edf-4fbb-b0e2-2ead5b38d415" providerId="ADAL" clId="{8CD114A1-4E37-472B-84CB-58CF44F01DB8}" dt="2020-03-04T21:00:55.928" v="23083" actId="15"/>
          <ac:spMkLst>
            <pc:docMk/>
            <pc:sldMk cId="2751078201" sldId="603"/>
            <ac:spMk id="4" creationId="{07077416-0318-4D73-BD9B-0E127A00F5DC}"/>
          </ac:spMkLst>
        </pc:spChg>
        <pc:spChg chg="add del mod">
          <ac:chgData name="Susan Van Eyck" userId="662afd01-5edf-4fbb-b0e2-2ead5b38d415" providerId="ADAL" clId="{8CD114A1-4E37-472B-84CB-58CF44F01DB8}" dt="2020-03-01T18:17:32.418" v="6376"/>
          <ac:spMkLst>
            <pc:docMk/>
            <pc:sldMk cId="2751078201" sldId="603"/>
            <ac:spMk id="5" creationId="{F9E87666-AC22-436C-8E7B-233B5E9BC4D5}"/>
          </ac:spMkLst>
        </pc:spChg>
        <pc:spChg chg="add mod">
          <ac:chgData name="Susan Van Eyck" userId="662afd01-5edf-4fbb-b0e2-2ead5b38d415" providerId="ADAL" clId="{8CD114A1-4E37-472B-84CB-58CF44F01DB8}" dt="2020-03-04T21:00:30.298" v="23081" actId="208"/>
          <ac:spMkLst>
            <pc:docMk/>
            <pc:sldMk cId="2751078201" sldId="603"/>
            <ac:spMk id="6" creationId="{9DF394B8-509D-442F-812A-176DF3790ACC}"/>
          </ac:spMkLst>
        </pc:spChg>
        <pc:picChg chg="add mod">
          <ac:chgData name="Susan Van Eyck" userId="662afd01-5edf-4fbb-b0e2-2ead5b38d415" providerId="ADAL" clId="{8CD114A1-4E37-472B-84CB-58CF44F01DB8}" dt="2020-03-01T18:05:47.478" v="6258" actId="14100"/>
          <ac:picMkLst>
            <pc:docMk/>
            <pc:sldMk cId="2751078201" sldId="603"/>
            <ac:picMk id="3" creationId="{A5D5B227-A74D-42AC-888D-5FCA176119AB}"/>
          </ac:picMkLst>
        </pc:picChg>
      </pc:sldChg>
      <pc:sldChg chg="addSp delSp modSp add mod chgLayout modNotesTx">
        <pc:chgData name="Susan Van Eyck" userId="662afd01-5edf-4fbb-b0e2-2ead5b38d415" providerId="ADAL" clId="{8CD114A1-4E37-472B-84CB-58CF44F01DB8}" dt="2020-03-05T15:58:36.190" v="23408" actId="6549"/>
        <pc:sldMkLst>
          <pc:docMk/>
          <pc:sldMk cId="2091928155" sldId="604"/>
        </pc:sldMkLst>
        <pc:spChg chg="mod ord">
          <ac:chgData name="Susan Van Eyck" userId="662afd01-5edf-4fbb-b0e2-2ead5b38d415" providerId="ADAL" clId="{8CD114A1-4E37-472B-84CB-58CF44F01DB8}" dt="2020-03-01T19:15:36.500" v="8666" actId="6264"/>
          <ac:spMkLst>
            <pc:docMk/>
            <pc:sldMk cId="2091928155" sldId="604"/>
            <ac:spMk id="2" creationId="{2483B08F-783A-4C26-8217-A356C5CE5DAA}"/>
          </ac:spMkLst>
        </pc:spChg>
        <pc:spChg chg="del mod ord">
          <ac:chgData name="Susan Van Eyck" userId="662afd01-5edf-4fbb-b0e2-2ead5b38d415" providerId="ADAL" clId="{8CD114A1-4E37-472B-84CB-58CF44F01DB8}" dt="2020-03-03T14:23:29.945" v="9448" actId="12084"/>
          <ac:spMkLst>
            <pc:docMk/>
            <pc:sldMk cId="2091928155" sldId="604"/>
            <ac:spMk id="3" creationId="{45EA61FD-ECF7-4300-B053-E195C79CBF7D}"/>
          </ac:spMkLst>
        </pc:spChg>
        <pc:spChg chg="add del mod">
          <ac:chgData name="Susan Van Eyck" userId="662afd01-5edf-4fbb-b0e2-2ead5b38d415" providerId="ADAL" clId="{8CD114A1-4E37-472B-84CB-58CF44F01DB8}" dt="2020-03-01T18:24:20.613" v="6528" actId="6264"/>
          <ac:spMkLst>
            <pc:docMk/>
            <pc:sldMk cId="2091928155" sldId="604"/>
            <ac:spMk id="4" creationId="{876431E2-11E7-4A1F-B078-287E7017F1A3}"/>
          </ac:spMkLst>
        </pc:spChg>
        <pc:spChg chg="add del mod">
          <ac:chgData name="Susan Van Eyck" userId="662afd01-5edf-4fbb-b0e2-2ead5b38d415" providerId="ADAL" clId="{8CD114A1-4E37-472B-84CB-58CF44F01DB8}" dt="2020-03-03T16:43:28.375" v="11245" actId="12084"/>
          <ac:spMkLst>
            <pc:docMk/>
            <pc:sldMk cId="2091928155" sldId="604"/>
            <ac:spMk id="5" creationId="{7A326129-70E6-441C-A0E6-943ABA86FB4E}"/>
          </ac:spMkLst>
        </pc:spChg>
        <pc:spChg chg="add del mod">
          <ac:chgData name="Susan Van Eyck" userId="662afd01-5edf-4fbb-b0e2-2ead5b38d415" providerId="ADAL" clId="{8CD114A1-4E37-472B-84CB-58CF44F01DB8}" dt="2020-03-01T18:24:20.613" v="6528" actId="6264"/>
          <ac:spMkLst>
            <pc:docMk/>
            <pc:sldMk cId="2091928155" sldId="604"/>
            <ac:spMk id="5" creationId="{BCE4085B-4720-4EDF-9AF0-D6E41FAF51C9}"/>
          </ac:spMkLst>
        </pc:spChg>
        <pc:spChg chg="add del mod">
          <ac:chgData name="Susan Van Eyck" userId="662afd01-5edf-4fbb-b0e2-2ead5b38d415" providerId="ADAL" clId="{8CD114A1-4E37-472B-84CB-58CF44F01DB8}" dt="2020-03-01T19:15:33.865" v="8665" actId="6264"/>
          <ac:spMkLst>
            <pc:docMk/>
            <pc:sldMk cId="2091928155" sldId="604"/>
            <ac:spMk id="6" creationId="{A3A0F117-C788-45B1-B5E3-0CD12DDB46CD}"/>
          </ac:spMkLst>
        </pc:spChg>
        <pc:spChg chg="add del mod">
          <ac:chgData name="Susan Van Eyck" userId="662afd01-5edf-4fbb-b0e2-2ead5b38d415" providerId="ADAL" clId="{8CD114A1-4E37-472B-84CB-58CF44F01DB8}" dt="2020-03-01T19:15:33.865" v="8665" actId="6264"/>
          <ac:spMkLst>
            <pc:docMk/>
            <pc:sldMk cId="2091928155" sldId="604"/>
            <ac:spMk id="7" creationId="{DF8238F0-F4DF-4683-9CDF-56D8ECEB9F1A}"/>
          </ac:spMkLst>
        </pc:spChg>
        <pc:spChg chg="add del mod">
          <ac:chgData name="Susan Van Eyck" userId="662afd01-5edf-4fbb-b0e2-2ead5b38d415" providerId="ADAL" clId="{8CD114A1-4E37-472B-84CB-58CF44F01DB8}" dt="2020-03-01T19:15:36.500" v="8666" actId="6264"/>
          <ac:spMkLst>
            <pc:docMk/>
            <pc:sldMk cId="2091928155" sldId="604"/>
            <ac:spMk id="8" creationId="{A6E0844E-F6C2-4750-B415-F272010CAC59}"/>
          </ac:spMkLst>
        </pc:spChg>
        <pc:spChg chg="add del mod">
          <ac:chgData name="Susan Van Eyck" userId="662afd01-5edf-4fbb-b0e2-2ead5b38d415" providerId="ADAL" clId="{8CD114A1-4E37-472B-84CB-58CF44F01DB8}" dt="2020-03-01T19:15:36.500" v="8666" actId="6264"/>
          <ac:spMkLst>
            <pc:docMk/>
            <pc:sldMk cId="2091928155" sldId="604"/>
            <ac:spMk id="9" creationId="{0A795CBB-3BEB-4278-86D6-91FE42946192}"/>
          </ac:spMkLst>
        </pc:spChg>
        <pc:graphicFrameChg chg="add mod">
          <ac:chgData name="Susan Van Eyck" userId="662afd01-5edf-4fbb-b0e2-2ead5b38d415" providerId="ADAL" clId="{8CD114A1-4E37-472B-84CB-58CF44F01DB8}" dt="2020-03-03T16:51:23.027" v="11269" actId="5793"/>
          <ac:graphicFrameMkLst>
            <pc:docMk/>
            <pc:sldMk cId="2091928155" sldId="604"/>
            <ac:graphicFrameMk id="4" creationId="{B9667AFB-F08F-4E54-9639-D1DD822E1E1F}"/>
          </ac:graphicFrameMkLst>
        </pc:graphicFrameChg>
        <pc:graphicFrameChg chg="add mod">
          <ac:chgData name="Susan Van Eyck" userId="662afd01-5edf-4fbb-b0e2-2ead5b38d415" providerId="ADAL" clId="{8CD114A1-4E37-472B-84CB-58CF44F01DB8}" dt="2020-03-03T16:51:46.260" v="11271" actId="1076"/>
          <ac:graphicFrameMkLst>
            <pc:docMk/>
            <pc:sldMk cId="2091928155" sldId="604"/>
            <ac:graphicFrameMk id="6" creationId="{D49B7658-306B-4069-8A43-2BD71F5B55AE}"/>
          </ac:graphicFrameMkLst>
        </pc:graphicFrameChg>
      </pc:sldChg>
      <pc:sldChg chg="addSp delSp modSp add del mod chgLayout">
        <pc:chgData name="Susan Van Eyck" userId="662afd01-5edf-4fbb-b0e2-2ead5b38d415" providerId="ADAL" clId="{8CD114A1-4E37-472B-84CB-58CF44F01DB8}" dt="2020-03-01T18:33:02.040" v="6751" actId="47"/>
        <pc:sldMkLst>
          <pc:docMk/>
          <pc:sldMk cId="514178006" sldId="605"/>
        </pc:sldMkLst>
        <pc:spChg chg="mod ord">
          <ac:chgData name="Susan Van Eyck" userId="662afd01-5edf-4fbb-b0e2-2ead5b38d415" providerId="ADAL" clId="{8CD114A1-4E37-472B-84CB-58CF44F01DB8}" dt="2020-03-01T18:24:20.613" v="6528" actId="6264"/>
          <ac:spMkLst>
            <pc:docMk/>
            <pc:sldMk cId="514178006" sldId="605"/>
            <ac:spMk id="2" creationId="{473A57C9-2435-4C99-8451-A109D399AA9E}"/>
          </ac:spMkLst>
        </pc:spChg>
        <pc:spChg chg="mod ord">
          <ac:chgData name="Susan Van Eyck" userId="662afd01-5edf-4fbb-b0e2-2ead5b38d415" providerId="ADAL" clId="{8CD114A1-4E37-472B-84CB-58CF44F01DB8}" dt="2020-03-01T18:24:20.613" v="6528" actId="6264"/>
          <ac:spMkLst>
            <pc:docMk/>
            <pc:sldMk cId="514178006" sldId="605"/>
            <ac:spMk id="3" creationId="{20810E85-F28E-449D-A01B-8CD83018C8E4}"/>
          </ac:spMkLst>
        </pc:spChg>
        <pc:spChg chg="add del mod">
          <ac:chgData name="Susan Van Eyck" userId="662afd01-5edf-4fbb-b0e2-2ead5b38d415" providerId="ADAL" clId="{8CD114A1-4E37-472B-84CB-58CF44F01DB8}" dt="2020-03-01T18:24:20.613" v="6528" actId="6264"/>
          <ac:spMkLst>
            <pc:docMk/>
            <pc:sldMk cId="514178006" sldId="605"/>
            <ac:spMk id="4" creationId="{EEBA4454-ED68-4F81-B451-6707DCEBFBDC}"/>
          </ac:spMkLst>
        </pc:spChg>
        <pc:spChg chg="add del mod">
          <ac:chgData name="Susan Van Eyck" userId="662afd01-5edf-4fbb-b0e2-2ead5b38d415" providerId="ADAL" clId="{8CD114A1-4E37-472B-84CB-58CF44F01DB8}" dt="2020-03-01T18:24:20.613" v="6528" actId="6264"/>
          <ac:spMkLst>
            <pc:docMk/>
            <pc:sldMk cId="514178006" sldId="605"/>
            <ac:spMk id="5" creationId="{021DEFED-09F2-48FD-93FF-3232E49045DD}"/>
          </ac:spMkLst>
        </pc:spChg>
      </pc:sldChg>
      <pc:sldChg chg="addSp delSp modSp add mod chgLayout modNotesTx">
        <pc:chgData name="Susan Van Eyck" userId="662afd01-5edf-4fbb-b0e2-2ead5b38d415" providerId="ADAL" clId="{8CD114A1-4E37-472B-84CB-58CF44F01DB8}" dt="2020-03-05T16:00:28.246" v="23440" actId="20577"/>
        <pc:sldMkLst>
          <pc:docMk/>
          <pc:sldMk cId="3358814540" sldId="606"/>
        </pc:sldMkLst>
        <pc:spChg chg="mod ord">
          <ac:chgData name="Susan Van Eyck" userId="662afd01-5edf-4fbb-b0e2-2ead5b38d415" providerId="ADAL" clId="{8CD114A1-4E37-472B-84CB-58CF44F01DB8}" dt="2020-03-01T19:33:10.852" v="9095" actId="114"/>
          <ac:spMkLst>
            <pc:docMk/>
            <pc:sldMk cId="3358814540" sldId="606"/>
            <ac:spMk id="2" creationId="{473A57C9-2435-4C99-8451-A109D399AA9E}"/>
          </ac:spMkLst>
        </pc:spChg>
        <pc:spChg chg="del mod ord">
          <ac:chgData name="Susan Van Eyck" userId="662afd01-5edf-4fbb-b0e2-2ead5b38d415" providerId="ADAL" clId="{8CD114A1-4E37-472B-84CB-58CF44F01DB8}" dt="2020-03-03T14:24:23.487" v="9454" actId="12084"/>
          <ac:spMkLst>
            <pc:docMk/>
            <pc:sldMk cId="3358814540" sldId="606"/>
            <ac:spMk id="3" creationId="{20810E85-F28E-449D-A01B-8CD83018C8E4}"/>
          </ac:spMkLst>
        </pc:spChg>
        <pc:spChg chg="add del mod">
          <ac:chgData name="Susan Van Eyck" userId="662afd01-5edf-4fbb-b0e2-2ead5b38d415" providerId="ADAL" clId="{8CD114A1-4E37-472B-84CB-58CF44F01DB8}" dt="2020-03-01T18:24:20.613" v="6528" actId="6264"/>
          <ac:spMkLst>
            <pc:docMk/>
            <pc:sldMk cId="3358814540" sldId="606"/>
            <ac:spMk id="5" creationId="{C8A7BD20-63FE-4FB7-A4DA-A22363717782}"/>
          </ac:spMkLst>
        </pc:spChg>
        <pc:spChg chg="add del mod">
          <ac:chgData name="Susan Van Eyck" userId="662afd01-5edf-4fbb-b0e2-2ead5b38d415" providerId="ADAL" clId="{8CD114A1-4E37-472B-84CB-58CF44F01DB8}" dt="2020-03-01T18:24:20.613" v="6528" actId="6264"/>
          <ac:spMkLst>
            <pc:docMk/>
            <pc:sldMk cId="3358814540" sldId="606"/>
            <ac:spMk id="6" creationId="{49437063-50F4-4AED-B935-655FF4032BDF}"/>
          </ac:spMkLst>
        </pc:spChg>
        <pc:spChg chg="add del mod">
          <ac:chgData name="Susan Van Eyck" userId="662afd01-5edf-4fbb-b0e2-2ead5b38d415" providerId="ADAL" clId="{8CD114A1-4E37-472B-84CB-58CF44F01DB8}" dt="2020-03-01T19:15:33.865" v="8665" actId="6264"/>
          <ac:spMkLst>
            <pc:docMk/>
            <pc:sldMk cId="3358814540" sldId="606"/>
            <ac:spMk id="7" creationId="{47BCAE49-46AC-4859-B808-5020717EF538}"/>
          </ac:spMkLst>
        </pc:spChg>
        <pc:spChg chg="add del mod">
          <ac:chgData name="Susan Van Eyck" userId="662afd01-5edf-4fbb-b0e2-2ead5b38d415" providerId="ADAL" clId="{8CD114A1-4E37-472B-84CB-58CF44F01DB8}" dt="2020-03-01T19:15:33.865" v="8665" actId="6264"/>
          <ac:spMkLst>
            <pc:docMk/>
            <pc:sldMk cId="3358814540" sldId="606"/>
            <ac:spMk id="8" creationId="{2EE848EE-44FA-409C-8BEC-DAA5E892612D}"/>
          </ac:spMkLst>
        </pc:spChg>
        <pc:spChg chg="add del mod">
          <ac:chgData name="Susan Van Eyck" userId="662afd01-5edf-4fbb-b0e2-2ead5b38d415" providerId="ADAL" clId="{8CD114A1-4E37-472B-84CB-58CF44F01DB8}" dt="2020-03-01T19:15:36.500" v="8666" actId="6264"/>
          <ac:spMkLst>
            <pc:docMk/>
            <pc:sldMk cId="3358814540" sldId="606"/>
            <ac:spMk id="9" creationId="{B31ED29C-98F2-485F-84A2-57721B393C5E}"/>
          </ac:spMkLst>
        </pc:spChg>
        <pc:spChg chg="add del mod">
          <ac:chgData name="Susan Van Eyck" userId="662afd01-5edf-4fbb-b0e2-2ead5b38d415" providerId="ADAL" clId="{8CD114A1-4E37-472B-84CB-58CF44F01DB8}" dt="2020-03-01T19:15:36.500" v="8666" actId="6264"/>
          <ac:spMkLst>
            <pc:docMk/>
            <pc:sldMk cId="3358814540" sldId="606"/>
            <ac:spMk id="10" creationId="{099876E3-2EB3-42DB-B5BE-FEDF9E3BD3B1}"/>
          </ac:spMkLst>
        </pc:spChg>
        <pc:graphicFrameChg chg="add mod">
          <ac:chgData name="Susan Van Eyck" userId="662afd01-5edf-4fbb-b0e2-2ead5b38d415" providerId="ADAL" clId="{8CD114A1-4E37-472B-84CB-58CF44F01DB8}" dt="2020-03-03T17:34:01.949" v="11846" actId="20577"/>
          <ac:graphicFrameMkLst>
            <pc:docMk/>
            <pc:sldMk cId="3358814540" sldId="606"/>
            <ac:graphicFrameMk id="4" creationId="{E7AB80C7-83CA-4B7E-BD1C-D5A62039A47A}"/>
          </ac:graphicFrameMkLst>
        </pc:graphicFrameChg>
        <pc:picChg chg="del">
          <ac:chgData name="Susan Van Eyck" userId="662afd01-5edf-4fbb-b0e2-2ead5b38d415" providerId="ADAL" clId="{8CD114A1-4E37-472B-84CB-58CF44F01DB8}" dt="2020-03-01T18:35:31.036" v="6984" actId="478"/>
          <ac:picMkLst>
            <pc:docMk/>
            <pc:sldMk cId="3358814540" sldId="606"/>
            <ac:picMk id="4" creationId="{B57896A6-9042-4F88-8446-38BC21E140AB}"/>
          </ac:picMkLst>
        </pc:picChg>
      </pc:sldChg>
      <pc:sldChg chg="addSp delSp modSp add del mod chgLayout">
        <pc:chgData name="Susan Van Eyck" userId="662afd01-5edf-4fbb-b0e2-2ead5b38d415" providerId="ADAL" clId="{8CD114A1-4E37-472B-84CB-58CF44F01DB8}" dt="2020-03-01T18:36:54.988" v="7042" actId="47"/>
        <pc:sldMkLst>
          <pc:docMk/>
          <pc:sldMk cId="3889301952" sldId="607"/>
        </pc:sldMkLst>
        <pc:spChg chg="mod ord">
          <ac:chgData name="Susan Van Eyck" userId="662afd01-5edf-4fbb-b0e2-2ead5b38d415" providerId="ADAL" clId="{8CD114A1-4E37-472B-84CB-58CF44F01DB8}" dt="2020-03-01T18:24:20.613" v="6528" actId="6264"/>
          <ac:spMkLst>
            <pc:docMk/>
            <pc:sldMk cId="3889301952" sldId="607"/>
            <ac:spMk id="2" creationId="{473A57C9-2435-4C99-8451-A109D399AA9E}"/>
          </ac:spMkLst>
        </pc:spChg>
        <pc:spChg chg="mod ord">
          <ac:chgData name="Susan Van Eyck" userId="662afd01-5edf-4fbb-b0e2-2ead5b38d415" providerId="ADAL" clId="{8CD114A1-4E37-472B-84CB-58CF44F01DB8}" dt="2020-03-01T18:24:20.792" v="6530" actId="27636"/>
          <ac:spMkLst>
            <pc:docMk/>
            <pc:sldMk cId="3889301952" sldId="607"/>
            <ac:spMk id="3" creationId="{20810E85-F28E-449D-A01B-8CD83018C8E4}"/>
          </ac:spMkLst>
        </pc:spChg>
        <pc:spChg chg="add del mod">
          <ac:chgData name="Susan Van Eyck" userId="662afd01-5edf-4fbb-b0e2-2ead5b38d415" providerId="ADAL" clId="{8CD114A1-4E37-472B-84CB-58CF44F01DB8}" dt="2020-03-01T18:24:20.613" v="6528" actId="6264"/>
          <ac:spMkLst>
            <pc:docMk/>
            <pc:sldMk cId="3889301952" sldId="607"/>
            <ac:spMk id="4" creationId="{147927D6-8DC8-440D-8BB3-5FF2999C8202}"/>
          </ac:spMkLst>
        </pc:spChg>
        <pc:spChg chg="add del mod">
          <ac:chgData name="Susan Van Eyck" userId="662afd01-5edf-4fbb-b0e2-2ead5b38d415" providerId="ADAL" clId="{8CD114A1-4E37-472B-84CB-58CF44F01DB8}" dt="2020-03-01T18:24:20.613" v="6528" actId="6264"/>
          <ac:spMkLst>
            <pc:docMk/>
            <pc:sldMk cId="3889301952" sldId="607"/>
            <ac:spMk id="5" creationId="{B5865EE2-3D76-4053-848C-292DA1CAC24A}"/>
          </ac:spMkLst>
        </pc:spChg>
      </pc:sldChg>
      <pc:sldChg chg="addSp delSp modSp add mod ord chgLayout modNotesTx">
        <pc:chgData name="Susan Van Eyck" userId="662afd01-5edf-4fbb-b0e2-2ead5b38d415" providerId="ADAL" clId="{8CD114A1-4E37-472B-84CB-58CF44F01DB8}" dt="2020-03-05T15:51:52.221" v="23348" actId="6549"/>
        <pc:sldMkLst>
          <pc:docMk/>
          <pc:sldMk cId="248324917" sldId="608"/>
        </pc:sldMkLst>
        <pc:spChg chg="mod ord">
          <ac:chgData name="Susan Van Eyck" userId="662afd01-5edf-4fbb-b0e2-2ead5b38d415" providerId="ADAL" clId="{8CD114A1-4E37-472B-84CB-58CF44F01DB8}" dt="2020-03-01T19:33:05.410" v="9094" actId="114"/>
          <ac:spMkLst>
            <pc:docMk/>
            <pc:sldMk cId="248324917" sldId="608"/>
            <ac:spMk id="2" creationId="{473A57C9-2435-4C99-8451-A109D399AA9E}"/>
          </ac:spMkLst>
        </pc:spChg>
        <pc:spChg chg="del mod ord">
          <ac:chgData name="Susan Van Eyck" userId="662afd01-5edf-4fbb-b0e2-2ead5b38d415" providerId="ADAL" clId="{8CD114A1-4E37-472B-84CB-58CF44F01DB8}" dt="2020-03-03T14:23:53.161" v="9450" actId="12084"/>
          <ac:spMkLst>
            <pc:docMk/>
            <pc:sldMk cId="248324917" sldId="608"/>
            <ac:spMk id="3" creationId="{20810E85-F28E-449D-A01B-8CD83018C8E4}"/>
          </ac:spMkLst>
        </pc:spChg>
        <pc:spChg chg="add del mod">
          <ac:chgData name="Susan Van Eyck" userId="662afd01-5edf-4fbb-b0e2-2ead5b38d415" providerId="ADAL" clId="{8CD114A1-4E37-472B-84CB-58CF44F01DB8}" dt="2020-03-01T18:24:20.613" v="6528" actId="6264"/>
          <ac:spMkLst>
            <pc:docMk/>
            <pc:sldMk cId="248324917" sldId="608"/>
            <ac:spMk id="4" creationId="{8EDA07D4-8CC3-45EB-8EC5-578607720E69}"/>
          </ac:spMkLst>
        </pc:spChg>
        <pc:spChg chg="add del mod">
          <ac:chgData name="Susan Van Eyck" userId="662afd01-5edf-4fbb-b0e2-2ead5b38d415" providerId="ADAL" clId="{8CD114A1-4E37-472B-84CB-58CF44F01DB8}" dt="2020-03-01T18:24:20.613" v="6528" actId="6264"/>
          <ac:spMkLst>
            <pc:docMk/>
            <pc:sldMk cId="248324917" sldId="608"/>
            <ac:spMk id="5" creationId="{C7D2DB37-FBF2-442B-8DBA-B6E81E3AAE5D}"/>
          </ac:spMkLst>
        </pc:spChg>
        <pc:spChg chg="add del mod">
          <ac:chgData name="Susan Van Eyck" userId="662afd01-5edf-4fbb-b0e2-2ead5b38d415" providerId="ADAL" clId="{8CD114A1-4E37-472B-84CB-58CF44F01DB8}" dt="2020-03-01T19:15:33.865" v="8665" actId="6264"/>
          <ac:spMkLst>
            <pc:docMk/>
            <pc:sldMk cId="248324917" sldId="608"/>
            <ac:spMk id="6" creationId="{999B7398-1361-49D9-9DD8-644372B0DDEE}"/>
          </ac:spMkLst>
        </pc:spChg>
        <pc:spChg chg="add del mod">
          <ac:chgData name="Susan Van Eyck" userId="662afd01-5edf-4fbb-b0e2-2ead5b38d415" providerId="ADAL" clId="{8CD114A1-4E37-472B-84CB-58CF44F01DB8}" dt="2020-03-01T19:15:33.865" v="8665" actId="6264"/>
          <ac:spMkLst>
            <pc:docMk/>
            <pc:sldMk cId="248324917" sldId="608"/>
            <ac:spMk id="7" creationId="{B41A5E39-6BDC-497C-891D-A1BDE35A78A0}"/>
          </ac:spMkLst>
        </pc:spChg>
        <pc:spChg chg="add del mod">
          <ac:chgData name="Susan Van Eyck" userId="662afd01-5edf-4fbb-b0e2-2ead5b38d415" providerId="ADAL" clId="{8CD114A1-4E37-472B-84CB-58CF44F01DB8}" dt="2020-03-01T19:15:36.500" v="8666" actId="6264"/>
          <ac:spMkLst>
            <pc:docMk/>
            <pc:sldMk cId="248324917" sldId="608"/>
            <ac:spMk id="8" creationId="{E4198C0D-9412-401F-AF9B-8DBE94AEBE18}"/>
          </ac:spMkLst>
        </pc:spChg>
        <pc:spChg chg="add del mod">
          <ac:chgData name="Susan Van Eyck" userId="662afd01-5edf-4fbb-b0e2-2ead5b38d415" providerId="ADAL" clId="{8CD114A1-4E37-472B-84CB-58CF44F01DB8}" dt="2020-03-01T19:15:36.500" v="8666" actId="6264"/>
          <ac:spMkLst>
            <pc:docMk/>
            <pc:sldMk cId="248324917" sldId="608"/>
            <ac:spMk id="9" creationId="{50B84061-4610-4EE0-B746-4F9C950C51DF}"/>
          </ac:spMkLst>
        </pc:spChg>
        <pc:graphicFrameChg chg="add mod">
          <ac:chgData name="Susan Van Eyck" userId="662afd01-5edf-4fbb-b0e2-2ead5b38d415" providerId="ADAL" clId="{8CD114A1-4E37-472B-84CB-58CF44F01DB8}" dt="2020-03-03T16:58:28.859" v="11284" actId="20577"/>
          <ac:graphicFrameMkLst>
            <pc:docMk/>
            <pc:sldMk cId="248324917" sldId="608"/>
            <ac:graphicFrameMk id="4" creationId="{57FD7EE3-F5AB-49D2-8A53-BC428DAF0EDD}"/>
          </ac:graphicFrameMkLst>
        </pc:graphicFrameChg>
      </pc:sldChg>
      <pc:sldChg chg="addSp delSp modSp add del mod chgLayout">
        <pc:chgData name="Susan Van Eyck" userId="662afd01-5edf-4fbb-b0e2-2ead5b38d415" providerId="ADAL" clId="{8CD114A1-4E37-472B-84CB-58CF44F01DB8}" dt="2020-03-01T19:00:41.205" v="8271" actId="47"/>
        <pc:sldMkLst>
          <pc:docMk/>
          <pc:sldMk cId="1576650449" sldId="609"/>
        </pc:sldMkLst>
        <pc:spChg chg="mod ord">
          <ac:chgData name="Susan Van Eyck" userId="662afd01-5edf-4fbb-b0e2-2ead5b38d415" providerId="ADAL" clId="{8CD114A1-4E37-472B-84CB-58CF44F01DB8}" dt="2020-03-01T18:24:20.613" v="6528" actId="6264"/>
          <ac:spMkLst>
            <pc:docMk/>
            <pc:sldMk cId="1576650449" sldId="609"/>
            <ac:spMk id="2" creationId="{473A57C9-2435-4C99-8451-A109D399AA9E}"/>
          </ac:spMkLst>
        </pc:spChg>
        <pc:spChg chg="mod ord">
          <ac:chgData name="Susan Van Eyck" userId="662afd01-5edf-4fbb-b0e2-2ead5b38d415" providerId="ADAL" clId="{8CD114A1-4E37-472B-84CB-58CF44F01DB8}" dt="2020-03-01T18:24:20.613" v="6528" actId="6264"/>
          <ac:spMkLst>
            <pc:docMk/>
            <pc:sldMk cId="1576650449" sldId="609"/>
            <ac:spMk id="3" creationId="{20810E85-F28E-449D-A01B-8CD83018C8E4}"/>
          </ac:spMkLst>
        </pc:spChg>
        <pc:spChg chg="add del mod">
          <ac:chgData name="Susan Van Eyck" userId="662afd01-5edf-4fbb-b0e2-2ead5b38d415" providerId="ADAL" clId="{8CD114A1-4E37-472B-84CB-58CF44F01DB8}" dt="2020-03-01T18:24:20.613" v="6528" actId="6264"/>
          <ac:spMkLst>
            <pc:docMk/>
            <pc:sldMk cId="1576650449" sldId="609"/>
            <ac:spMk id="6" creationId="{8ECFE694-3E2D-437A-B514-C68DE184AF0C}"/>
          </ac:spMkLst>
        </pc:spChg>
        <pc:spChg chg="add del mod">
          <ac:chgData name="Susan Van Eyck" userId="662afd01-5edf-4fbb-b0e2-2ead5b38d415" providerId="ADAL" clId="{8CD114A1-4E37-472B-84CB-58CF44F01DB8}" dt="2020-03-01T18:24:20.613" v="6528" actId="6264"/>
          <ac:spMkLst>
            <pc:docMk/>
            <pc:sldMk cId="1576650449" sldId="609"/>
            <ac:spMk id="7" creationId="{5D624143-DE97-4ACE-92F7-7960BAEBA09E}"/>
          </ac:spMkLst>
        </pc:spChg>
      </pc:sldChg>
      <pc:sldChg chg="addSp delSp modSp add del mod chgLayout">
        <pc:chgData name="Susan Van Eyck" userId="662afd01-5edf-4fbb-b0e2-2ead5b38d415" providerId="ADAL" clId="{8CD114A1-4E37-472B-84CB-58CF44F01DB8}" dt="2020-03-01T19:04:55.020" v="8425" actId="47"/>
        <pc:sldMkLst>
          <pc:docMk/>
          <pc:sldMk cId="1541720456" sldId="610"/>
        </pc:sldMkLst>
        <pc:spChg chg="mod ord">
          <ac:chgData name="Susan Van Eyck" userId="662afd01-5edf-4fbb-b0e2-2ead5b38d415" providerId="ADAL" clId="{8CD114A1-4E37-472B-84CB-58CF44F01DB8}" dt="2020-03-01T19:01:00.329" v="8316" actId="114"/>
          <ac:spMkLst>
            <pc:docMk/>
            <pc:sldMk cId="1541720456" sldId="610"/>
            <ac:spMk id="2" creationId="{473A57C9-2435-4C99-8451-A109D399AA9E}"/>
          </ac:spMkLst>
        </pc:spChg>
        <pc:spChg chg="mod ord">
          <ac:chgData name="Susan Van Eyck" userId="662afd01-5edf-4fbb-b0e2-2ead5b38d415" providerId="ADAL" clId="{8CD114A1-4E37-472B-84CB-58CF44F01DB8}" dt="2020-03-01T18:24:20.613" v="6528" actId="6264"/>
          <ac:spMkLst>
            <pc:docMk/>
            <pc:sldMk cId="1541720456" sldId="610"/>
            <ac:spMk id="3" creationId="{20810E85-F28E-449D-A01B-8CD83018C8E4}"/>
          </ac:spMkLst>
        </pc:spChg>
        <pc:spChg chg="add del mod">
          <ac:chgData name="Susan Van Eyck" userId="662afd01-5edf-4fbb-b0e2-2ead5b38d415" providerId="ADAL" clId="{8CD114A1-4E37-472B-84CB-58CF44F01DB8}" dt="2020-03-01T18:24:20.613" v="6528" actId="6264"/>
          <ac:spMkLst>
            <pc:docMk/>
            <pc:sldMk cId="1541720456" sldId="610"/>
            <ac:spMk id="4" creationId="{CD620D40-1580-4702-B1FA-3E70B78A29B1}"/>
          </ac:spMkLst>
        </pc:spChg>
        <pc:spChg chg="add del mod">
          <ac:chgData name="Susan Van Eyck" userId="662afd01-5edf-4fbb-b0e2-2ead5b38d415" providerId="ADAL" clId="{8CD114A1-4E37-472B-84CB-58CF44F01DB8}" dt="2020-03-01T18:24:20.613" v="6528" actId="6264"/>
          <ac:spMkLst>
            <pc:docMk/>
            <pc:sldMk cId="1541720456" sldId="610"/>
            <ac:spMk id="5" creationId="{3821E70E-339D-45B8-B863-F8205DD22DC5}"/>
          </ac:spMkLst>
        </pc:spChg>
      </pc:sldChg>
      <pc:sldChg chg="addSp delSp modSp add del mod chgLayout">
        <pc:chgData name="Susan Van Eyck" userId="662afd01-5edf-4fbb-b0e2-2ead5b38d415" providerId="ADAL" clId="{8CD114A1-4E37-472B-84CB-58CF44F01DB8}" dt="2020-03-01T19:05:59.292" v="8464" actId="47"/>
        <pc:sldMkLst>
          <pc:docMk/>
          <pc:sldMk cId="686822428" sldId="611"/>
        </pc:sldMkLst>
        <pc:spChg chg="mod ord">
          <ac:chgData name="Susan Van Eyck" userId="662afd01-5edf-4fbb-b0e2-2ead5b38d415" providerId="ADAL" clId="{8CD114A1-4E37-472B-84CB-58CF44F01DB8}" dt="2020-03-01T18:24:20.613" v="6528" actId="6264"/>
          <ac:spMkLst>
            <pc:docMk/>
            <pc:sldMk cId="686822428" sldId="611"/>
            <ac:spMk id="2" creationId="{473A57C9-2435-4C99-8451-A109D399AA9E}"/>
          </ac:spMkLst>
        </pc:spChg>
        <pc:spChg chg="mod ord">
          <ac:chgData name="Susan Van Eyck" userId="662afd01-5edf-4fbb-b0e2-2ead5b38d415" providerId="ADAL" clId="{8CD114A1-4E37-472B-84CB-58CF44F01DB8}" dt="2020-03-01T19:05:38.324" v="8461" actId="15"/>
          <ac:spMkLst>
            <pc:docMk/>
            <pc:sldMk cId="686822428" sldId="611"/>
            <ac:spMk id="3" creationId="{20810E85-F28E-449D-A01B-8CD83018C8E4}"/>
          </ac:spMkLst>
        </pc:spChg>
        <pc:spChg chg="add del mod">
          <ac:chgData name="Susan Van Eyck" userId="662afd01-5edf-4fbb-b0e2-2ead5b38d415" providerId="ADAL" clId="{8CD114A1-4E37-472B-84CB-58CF44F01DB8}" dt="2020-03-01T18:24:20.613" v="6528" actId="6264"/>
          <ac:spMkLst>
            <pc:docMk/>
            <pc:sldMk cId="686822428" sldId="611"/>
            <ac:spMk id="4" creationId="{0012E199-BE3A-419F-9479-2E3942C09CF2}"/>
          </ac:spMkLst>
        </pc:spChg>
        <pc:spChg chg="add del mod">
          <ac:chgData name="Susan Van Eyck" userId="662afd01-5edf-4fbb-b0e2-2ead5b38d415" providerId="ADAL" clId="{8CD114A1-4E37-472B-84CB-58CF44F01DB8}" dt="2020-03-01T18:24:20.613" v="6528" actId="6264"/>
          <ac:spMkLst>
            <pc:docMk/>
            <pc:sldMk cId="686822428" sldId="611"/>
            <ac:spMk id="5" creationId="{5B4887E8-1BFE-4C6E-BD59-214991587E58}"/>
          </ac:spMkLst>
        </pc:spChg>
      </pc:sldChg>
      <pc:sldChg chg="addSp delSp modSp add mod ord chgLayout">
        <pc:chgData name="Susan Van Eyck" userId="662afd01-5edf-4fbb-b0e2-2ead5b38d415" providerId="ADAL" clId="{8CD114A1-4E37-472B-84CB-58CF44F01DB8}" dt="2020-03-05T15:56:54.949" v="23406" actId="20577"/>
        <pc:sldMkLst>
          <pc:docMk/>
          <pc:sldMk cId="3223734742" sldId="612"/>
        </pc:sldMkLst>
        <pc:spChg chg="mod ord">
          <ac:chgData name="Susan Van Eyck" userId="662afd01-5edf-4fbb-b0e2-2ead5b38d415" providerId="ADAL" clId="{8CD114A1-4E37-472B-84CB-58CF44F01DB8}" dt="2020-03-01T19:33:00.331" v="9093" actId="114"/>
          <ac:spMkLst>
            <pc:docMk/>
            <pc:sldMk cId="3223734742" sldId="612"/>
            <ac:spMk id="2" creationId="{2483B08F-783A-4C26-8217-A356C5CE5DAA}"/>
          </ac:spMkLst>
        </pc:spChg>
        <pc:spChg chg="del mod ord">
          <ac:chgData name="Susan Van Eyck" userId="662afd01-5edf-4fbb-b0e2-2ead5b38d415" providerId="ADAL" clId="{8CD114A1-4E37-472B-84CB-58CF44F01DB8}" dt="2020-03-03T14:24:10.572" v="9452" actId="12084"/>
          <ac:spMkLst>
            <pc:docMk/>
            <pc:sldMk cId="3223734742" sldId="612"/>
            <ac:spMk id="3" creationId="{45EA61FD-ECF7-4300-B053-E195C79CBF7D}"/>
          </ac:spMkLst>
        </pc:spChg>
        <pc:spChg chg="add del mod">
          <ac:chgData name="Susan Van Eyck" userId="662afd01-5edf-4fbb-b0e2-2ead5b38d415" providerId="ADAL" clId="{8CD114A1-4E37-472B-84CB-58CF44F01DB8}" dt="2020-03-01T18:24:20.613" v="6528" actId="6264"/>
          <ac:spMkLst>
            <pc:docMk/>
            <pc:sldMk cId="3223734742" sldId="612"/>
            <ac:spMk id="4" creationId="{33786EB2-3CF9-4DA6-A461-93446292D2E1}"/>
          </ac:spMkLst>
        </pc:spChg>
        <pc:spChg chg="add del mod">
          <ac:chgData name="Susan Van Eyck" userId="662afd01-5edf-4fbb-b0e2-2ead5b38d415" providerId="ADAL" clId="{8CD114A1-4E37-472B-84CB-58CF44F01DB8}" dt="2020-03-01T18:24:20.613" v="6528" actId="6264"/>
          <ac:spMkLst>
            <pc:docMk/>
            <pc:sldMk cId="3223734742" sldId="612"/>
            <ac:spMk id="5" creationId="{A1546168-2DF8-4811-9875-3EACD881266D}"/>
          </ac:spMkLst>
        </pc:spChg>
        <pc:spChg chg="add del mod">
          <ac:chgData name="Susan Van Eyck" userId="662afd01-5edf-4fbb-b0e2-2ead5b38d415" providerId="ADAL" clId="{8CD114A1-4E37-472B-84CB-58CF44F01DB8}" dt="2020-03-01T19:15:21.605" v="8664" actId="6264"/>
          <ac:spMkLst>
            <pc:docMk/>
            <pc:sldMk cId="3223734742" sldId="612"/>
            <ac:spMk id="6" creationId="{6807678E-E6B5-4DB0-BEE6-D36FA30D5386}"/>
          </ac:spMkLst>
        </pc:spChg>
        <pc:spChg chg="add del mod">
          <ac:chgData name="Susan Van Eyck" userId="662afd01-5edf-4fbb-b0e2-2ead5b38d415" providerId="ADAL" clId="{8CD114A1-4E37-472B-84CB-58CF44F01DB8}" dt="2020-03-01T19:15:21.605" v="8664" actId="6264"/>
          <ac:spMkLst>
            <pc:docMk/>
            <pc:sldMk cId="3223734742" sldId="612"/>
            <ac:spMk id="7" creationId="{DB8500B1-42DA-4840-B96C-3D82F1CA165B}"/>
          </ac:spMkLst>
        </pc:spChg>
        <pc:graphicFrameChg chg="add mod">
          <ac:chgData name="Susan Van Eyck" userId="662afd01-5edf-4fbb-b0e2-2ead5b38d415" providerId="ADAL" clId="{8CD114A1-4E37-472B-84CB-58CF44F01DB8}" dt="2020-03-05T15:56:54.949" v="23406" actId="20577"/>
          <ac:graphicFrameMkLst>
            <pc:docMk/>
            <pc:sldMk cId="3223734742" sldId="612"/>
            <ac:graphicFrameMk id="4" creationId="{D2449322-CC8D-4036-BF00-5CDA9232A445}"/>
          </ac:graphicFrameMkLst>
        </pc:graphicFrameChg>
      </pc:sldChg>
      <pc:sldChg chg="addSp delSp modSp add mod modNotesTx">
        <pc:chgData name="Susan Van Eyck" userId="662afd01-5edf-4fbb-b0e2-2ead5b38d415" providerId="ADAL" clId="{8CD114A1-4E37-472B-84CB-58CF44F01DB8}" dt="2020-03-04T15:09:10.781" v="19818" actId="207"/>
        <pc:sldMkLst>
          <pc:docMk/>
          <pc:sldMk cId="4157009367" sldId="613"/>
        </pc:sldMkLst>
        <pc:spChg chg="mod">
          <ac:chgData name="Susan Van Eyck" userId="662afd01-5edf-4fbb-b0e2-2ead5b38d415" providerId="ADAL" clId="{8CD114A1-4E37-472B-84CB-58CF44F01DB8}" dt="2020-03-03T15:47:30.996" v="10296" actId="20577"/>
          <ac:spMkLst>
            <pc:docMk/>
            <pc:sldMk cId="4157009367" sldId="613"/>
            <ac:spMk id="2" creationId="{9662BC49-766F-4BD9-9B58-AD8976B58BE7}"/>
          </ac:spMkLst>
        </pc:spChg>
        <pc:spChg chg="mod">
          <ac:chgData name="Susan Van Eyck" userId="662afd01-5edf-4fbb-b0e2-2ead5b38d415" providerId="ADAL" clId="{8CD114A1-4E37-472B-84CB-58CF44F01DB8}" dt="2020-03-04T15:08:51.601" v="19817" actId="20577"/>
          <ac:spMkLst>
            <pc:docMk/>
            <pc:sldMk cId="4157009367" sldId="613"/>
            <ac:spMk id="3" creationId="{08A51829-F6E4-4F66-8858-C116FB6E2495}"/>
          </ac:spMkLst>
        </pc:spChg>
        <pc:spChg chg="del mod">
          <ac:chgData name="Susan Van Eyck" userId="662afd01-5edf-4fbb-b0e2-2ead5b38d415" providerId="ADAL" clId="{8CD114A1-4E37-472B-84CB-58CF44F01DB8}" dt="2020-03-04T13:06:41.679" v="15288" actId="12084"/>
          <ac:spMkLst>
            <pc:docMk/>
            <pc:sldMk cId="4157009367" sldId="613"/>
            <ac:spMk id="4" creationId="{6232B202-8198-4BB9-851D-43FE3F5C0A5F}"/>
          </ac:spMkLst>
        </pc:spChg>
        <pc:spChg chg="add mod">
          <ac:chgData name="Susan Van Eyck" userId="662afd01-5edf-4fbb-b0e2-2ead5b38d415" providerId="ADAL" clId="{8CD114A1-4E37-472B-84CB-58CF44F01DB8}" dt="2020-03-04T15:09:10.781" v="19818" actId="207"/>
          <ac:spMkLst>
            <pc:docMk/>
            <pc:sldMk cId="4157009367" sldId="613"/>
            <ac:spMk id="5" creationId="{44DBCC87-0934-4428-A760-FFE7B380E938}"/>
          </ac:spMkLst>
        </pc:spChg>
        <pc:graphicFrameChg chg="add mod">
          <ac:chgData name="Susan Van Eyck" userId="662afd01-5edf-4fbb-b0e2-2ead5b38d415" providerId="ADAL" clId="{8CD114A1-4E37-472B-84CB-58CF44F01DB8}" dt="2020-03-04T13:07:48.520" v="15293" actId="12100"/>
          <ac:graphicFrameMkLst>
            <pc:docMk/>
            <pc:sldMk cId="4157009367" sldId="613"/>
            <ac:graphicFrameMk id="6" creationId="{051A79A1-377C-4C7A-B151-25C9B3668E35}"/>
          </ac:graphicFrameMkLst>
        </pc:graphicFrameChg>
      </pc:sldChg>
      <pc:sldChg chg="addSp delSp modSp add mod modNotesTx">
        <pc:chgData name="Susan Van Eyck" userId="662afd01-5edf-4fbb-b0e2-2ead5b38d415" providerId="ADAL" clId="{8CD114A1-4E37-472B-84CB-58CF44F01DB8}" dt="2020-03-06T22:26:46.758" v="27204" actId="20577"/>
        <pc:sldMkLst>
          <pc:docMk/>
          <pc:sldMk cId="3612679356" sldId="614"/>
        </pc:sldMkLst>
        <pc:spChg chg="mod">
          <ac:chgData name="Susan Van Eyck" userId="662afd01-5edf-4fbb-b0e2-2ead5b38d415" providerId="ADAL" clId="{8CD114A1-4E37-472B-84CB-58CF44F01DB8}" dt="2020-03-04T14:57:57.760" v="19729" actId="20577"/>
          <ac:spMkLst>
            <pc:docMk/>
            <pc:sldMk cId="3612679356" sldId="614"/>
            <ac:spMk id="2" creationId="{934721D9-C107-4D5A-B48B-B992621FADC7}"/>
          </ac:spMkLst>
        </pc:spChg>
        <pc:spChg chg="mod">
          <ac:chgData name="Susan Van Eyck" userId="662afd01-5edf-4fbb-b0e2-2ead5b38d415" providerId="ADAL" clId="{8CD114A1-4E37-472B-84CB-58CF44F01DB8}" dt="2020-03-04T14:58:17.118" v="19763" actId="20577"/>
          <ac:spMkLst>
            <pc:docMk/>
            <pc:sldMk cId="3612679356" sldId="614"/>
            <ac:spMk id="3" creationId="{76D68A99-F73F-4DA3-A076-996FB915B73C}"/>
          </ac:spMkLst>
        </pc:spChg>
        <pc:spChg chg="del mod">
          <ac:chgData name="Susan Van Eyck" userId="662afd01-5edf-4fbb-b0e2-2ead5b38d415" providerId="ADAL" clId="{8CD114A1-4E37-472B-84CB-58CF44F01DB8}" dt="2020-03-04T02:43:30.907" v="14774" actId="12084"/>
          <ac:spMkLst>
            <pc:docMk/>
            <pc:sldMk cId="3612679356" sldId="614"/>
            <ac:spMk id="4" creationId="{011309C0-BDA7-40AA-A10C-A5B34AED2F5D}"/>
          </ac:spMkLst>
        </pc:spChg>
        <pc:spChg chg="add mod">
          <ac:chgData name="Susan Van Eyck" userId="662afd01-5edf-4fbb-b0e2-2ead5b38d415" providerId="ADAL" clId="{8CD114A1-4E37-472B-84CB-58CF44F01DB8}" dt="2020-03-04T12:44:00.684" v="14851" actId="1076"/>
          <ac:spMkLst>
            <pc:docMk/>
            <pc:sldMk cId="3612679356" sldId="614"/>
            <ac:spMk id="5" creationId="{81092128-01F3-42D3-93C4-DCA71C6446E4}"/>
          </ac:spMkLst>
        </pc:spChg>
        <pc:graphicFrameChg chg="add mod">
          <ac:chgData name="Susan Van Eyck" userId="662afd01-5edf-4fbb-b0e2-2ead5b38d415" providerId="ADAL" clId="{8CD114A1-4E37-472B-84CB-58CF44F01DB8}" dt="2020-03-06T22:26:46.758" v="27204" actId="20577"/>
          <ac:graphicFrameMkLst>
            <pc:docMk/>
            <pc:sldMk cId="3612679356" sldId="614"/>
            <ac:graphicFrameMk id="6" creationId="{59048E88-1954-41B7-8B8B-D2ABDC6142D2}"/>
          </ac:graphicFrameMkLst>
        </pc:graphicFrameChg>
      </pc:sldChg>
      <pc:sldChg chg="addSp delSp modSp add mod modNotesTx">
        <pc:chgData name="Susan Van Eyck" userId="662afd01-5edf-4fbb-b0e2-2ead5b38d415" providerId="ADAL" clId="{8CD114A1-4E37-472B-84CB-58CF44F01DB8}" dt="2020-03-04T14:55:15.013" v="19678" actId="114"/>
        <pc:sldMkLst>
          <pc:docMk/>
          <pc:sldMk cId="3875725168" sldId="615"/>
        </pc:sldMkLst>
        <pc:spChg chg="mod">
          <ac:chgData name="Susan Van Eyck" userId="662afd01-5edf-4fbb-b0e2-2ead5b38d415" providerId="ADAL" clId="{8CD114A1-4E37-472B-84CB-58CF44F01DB8}" dt="2020-03-04T02:27:59.661" v="14530" actId="20577"/>
          <ac:spMkLst>
            <pc:docMk/>
            <pc:sldMk cId="3875725168" sldId="615"/>
            <ac:spMk id="2" creationId="{17A8A069-1E02-4EF1-915C-021D16EEB7E0}"/>
          </ac:spMkLst>
        </pc:spChg>
        <pc:spChg chg="mod">
          <ac:chgData name="Susan Van Eyck" userId="662afd01-5edf-4fbb-b0e2-2ead5b38d415" providerId="ADAL" clId="{8CD114A1-4E37-472B-84CB-58CF44F01DB8}" dt="2020-03-04T02:17:34.635" v="14372" actId="20577"/>
          <ac:spMkLst>
            <pc:docMk/>
            <pc:sldMk cId="3875725168" sldId="615"/>
            <ac:spMk id="3" creationId="{240C0451-E3AC-45B7-8F9F-0534A6FA7219}"/>
          </ac:spMkLst>
        </pc:spChg>
        <pc:spChg chg="del mod">
          <ac:chgData name="Susan Van Eyck" userId="662afd01-5edf-4fbb-b0e2-2ead5b38d415" providerId="ADAL" clId="{8CD114A1-4E37-472B-84CB-58CF44F01DB8}" dt="2020-03-04T02:15:03.858" v="14305" actId="478"/>
          <ac:spMkLst>
            <pc:docMk/>
            <pc:sldMk cId="3875725168" sldId="615"/>
            <ac:spMk id="4" creationId="{7A721B2C-D44E-44EB-AF5E-3E3D5F6DD557}"/>
          </ac:spMkLst>
        </pc:spChg>
        <pc:spChg chg="add del mod">
          <ac:chgData name="Susan Van Eyck" userId="662afd01-5edf-4fbb-b0e2-2ead5b38d415" providerId="ADAL" clId="{8CD114A1-4E37-472B-84CB-58CF44F01DB8}" dt="2020-03-04T02:15:07.637" v="14306" actId="478"/>
          <ac:spMkLst>
            <pc:docMk/>
            <pc:sldMk cId="3875725168" sldId="615"/>
            <ac:spMk id="6" creationId="{C3CFBB59-7AD7-49F1-ACB5-474422EE3191}"/>
          </ac:spMkLst>
        </pc:spChg>
        <pc:spChg chg="add mod">
          <ac:chgData name="Susan Van Eyck" userId="662afd01-5edf-4fbb-b0e2-2ead5b38d415" providerId="ADAL" clId="{8CD114A1-4E37-472B-84CB-58CF44F01DB8}" dt="2020-03-04T14:49:45.189" v="19193"/>
          <ac:spMkLst>
            <pc:docMk/>
            <pc:sldMk cId="3875725168" sldId="615"/>
            <ac:spMk id="7" creationId="{3347287B-EEB8-4B84-ADF1-D7050BAA2A15}"/>
          </ac:spMkLst>
        </pc:spChg>
      </pc:sldChg>
      <pc:sldChg chg="addSp delSp modSp add mod modNotesTx">
        <pc:chgData name="Susan Van Eyck" userId="662afd01-5edf-4fbb-b0e2-2ead5b38d415" providerId="ADAL" clId="{8CD114A1-4E37-472B-84CB-58CF44F01DB8}" dt="2020-03-04T14:57:36.494" v="19725" actId="6549"/>
        <pc:sldMkLst>
          <pc:docMk/>
          <pc:sldMk cId="1909332055" sldId="616"/>
        </pc:sldMkLst>
        <pc:spChg chg="mod">
          <ac:chgData name="Susan Van Eyck" userId="662afd01-5edf-4fbb-b0e2-2ead5b38d415" providerId="ADAL" clId="{8CD114A1-4E37-472B-84CB-58CF44F01DB8}" dt="2020-03-04T02:27:50.720" v="14516" actId="20577"/>
          <ac:spMkLst>
            <pc:docMk/>
            <pc:sldMk cId="1909332055" sldId="616"/>
            <ac:spMk id="2" creationId="{CB39135E-E4E6-40F6-906B-F6316EDE43F4}"/>
          </ac:spMkLst>
        </pc:spChg>
        <pc:spChg chg="mod">
          <ac:chgData name="Susan Van Eyck" userId="662afd01-5edf-4fbb-b0e2-2ead5b38d415" providerId="ADAL" clId="{8CD114A1-4E37-472B-84CB-58CF44F01DB8}" dt="2020-03-04T02:24:55.722" v="14469" actId="20577"/>
          <ac:spMkLst>
            <pc:docMk/>
            <pc:sldMk cId="1909332055" sldId="616"/>
            <ac:spMk id="3" creationId="{58043345-EB6F-410B-839D-3B3B94FD49AE}"/>
          </ac:spMkLst>
        </pc:spChg>
        <pc:spChg chg="del mod">
          <ac:chgData name="Susan Van Eyck" userId="662afd01-5edf-4fbb-b0e2-2ead5b38d415" providerId="ADAL" clId="{8CD114A1-4E37-472B-84CB-58CF44F01DB8}" dt="2020-03-04T02:21:40.058" v="14405" actId="478"/>
          <ac:spMkLst>
            <pc:docMk/>
            <pc:sldMk cId="1909332055" sldId="616"/>
            <ac:spMk id="4" creationId="{D5E253AF-E9D0-42AD-96E6-4020EF701218}"/>
          </ac:spMkLst>
        </pc:spChg>
        <pc:spChg chg="add mod">
          <ac:chgData name="Susan Van Eyck" userId="662afd01-5edf-4fbb-b0e2-2ead5b38d415" providerId="ADAL" clId="{8CD114A1-4E37-472B-84CB-58CF44F01DB8}" dt="2020-03-04T02:27:38.133" v="14511" actId="20577"/>
          <ac:spMkLst>
            <pc:docMk/>
            <pc:sldMk cId="1909332055" sldId="616"/>
            <ac:spMk id="5" creationId="{64CA118F-FB91-4076-9244-5FA42F93238F}"/>
          </ac:spMkLst>
        </pc:spChg>
      </pc:sldChg>
      <pc:sldChg chg="addSp delSp modSp add mod modNotesTx">
        <pc:chgData name="Susan Van Eyck" userId="662afd01-5edf-4fbb-b0e2-2ead5b38d415" providerId="ADAL" clId="{8CD114A1-4E37-472B-84CB-58CF44F01DB8}" dt="2020-03-04T14:46:11.511" v="19070" actId="20577"/>
        <pc:sldMkLst>
          <pc:docMk/>
          <pc:sldMk cId="793870729" sldId="617"/>
        </pc:sldMkLst>
        <pc:spChg chg="mod">
          <ac:chgData name="Susan Van Eyck" userId="662afd01-5edf-4fbb-b0e2-2ead5b38d415" providerId="ADAL" clId="{8CD114A1-4E37-472B-84CB-58CF44F01DB8}" dt="2020-03-04T01:19:31.879" v="13383" actId="20577"/>
          <ac:spMkLst>
            <pc:docMk/>
            <pc:sldMk cId="793870729" sldId="617"/>
            <ac:spMk id="2" creationId="{CE990302-7393-441A-806F-F4B48A6F0315}"/>
          </ac:spMkLst>
        </pc:spChg>
        <pc:spChg chg="del mod">
          <ac:chgData name="Susan Van Eyck" userId="662afd01-5edf-4fbb-b0e2-2ead5b38d415" providerId="ADAL" clId="{8CD114A1-4E37-472B-84CB-58CF44F01DB8}" dt="2020-03-04T01:54:38.741" v="14012" actId="12084"/>
          <ac:spMkLst>
            <pc:docMk/>
            <pc:sldMk cId="793870729" sldId="617"/>
            <ac:spMk id="4" creationId="{59AA0E79-53A2-469B-AB4A-52A722E6E3DF}"/>
          </ac:spMkLst>
        </pc:spChg>
        <pc:graphicFrameChg chg="add mod">
          <ac:chgData name="Susan Van Eyck" userId="662afd01-5edf-4fbb-b0e2-2ead5b38d415" providerId="ADAL" clId="{8CD114A1-4E37-472B-84CB-58CF44F01DB8}" dt="2020-03-04T14:46:11.511" v="19070" actId="20577"/>
          <ac:graphicFrameMkLst>
            <pc:docMk/>
            <pc:sldMk cId="793870729" sldId="617"/>
            <ac:graphicFrameMk id="5" creationId="{AEA6DA8A-3FA6-41CB-BD83-973312B2FA9E}"/>
          </ac:graphicFrameMkLst>
        </pc:graphicFrameChg>
      </pc:sldChg>
      <pc:sldChg chg="addSp delSp modSp add mod ord">
        <pc:chgData name="Susan Van Eyck" userId="662afd01-5edf-4fbb-b0e2-2ead5b38d415" providerId="ADAL" clId="{8CD114A1-4E37-472B-84CB-58CF44F01DB8}" dt="2020-03-04T02:00:52.691" v="14038" actId="1076"/>
        <pc:sldMkLst>
          <pc:docMk/>
          <pc:sldMk cId="2077511303" sldId="618"/>
        </pc:sldMkLst>
        <pc:spChg chg="mod">
          <ac:chgData name="Susan Van Eyck" userId="662afd01-5edf-4fbb-b0e2-2ead5b38d415" providerId="ADAL" clId="{8CD114A1-4E37-472B-84CB-58CF44F01DB8}" dt="2020-03-04T01:35:51.384" v="13833" actId="20577"/>
          <ac:spMkLst>
            <pc:docMk/>
            <pc:sldMk cId="2077511303" sldId="618"/>
            <ac:spMk id="2" creationId="{E348F92A-0E0E-4D3B-A08D-A4B1353FA7F2}"/>
          </ac:spMkLst>
        </pc:spChg>
        <pc:spChg chg="del">
          <ac:chgData name="Susan Van Eyck" userId="662afd01-5edf-4fbb-b0e2-2ead5b38d415" providerId="ADAL" clId="{8CD114A1-4E37-472B-84CB-58CF44F01DB8}" dt="2020-03-04T01:35:55.992" v="13834" actId="478"/>
          <ac:spMkLst>
            <pc:docMk/>
            <pc:sldMk cId="2077511303" sldId="618"/>
            <ac:spMk id="4" creationId="{694EB3A3-B433-49FF-8806-939CC2402F7F}"/>
          </ac:spMkLst>
        </pc:spChg>
        <pc:spChg chg="add mod">
          <ac:chgData name="Susan Van Eyck" userId="662afd01-5edf-4fbb-b0e2-2ead5b38d415" providerId="ADAL" clId="{8CD114A1-4E37-472B-84CB-58CF44F01DB8}" dt="2020-03-04T02:00:35.607" v="14033" actId="14100"/>
          <ac:spMkLst>
            <pc:docMk/>
            <pc:sldMk cId="2077511303" sldId="618"/>
            <ac:spMk id="5" creationId="{69B73290-F650-4355-A653-17468CE10FAD}"/>
          </ac:spMkLst>
        </pc:spChg>
        <pc:spChg chg="add mod">
          <ac:chgData name="Susan Van Eyck" userId="662afd01-5edf-4fbb-b0e2-2ead5b38d415" providerId="ADAL" clId="{8CD114A1-4E37-472B-84CB-58CF44F01DB8}" dt="2020-03-04T02:00:35.607" v="14033" actId="14100"/>
          <ac:spMkLst>
            <pc:docMk/>
            <pc:sldMk cId="2077511303" sldId="618"/>
            <ac:spMk id="6" creationId="{553A92EB-C277-423B-BE0F-7A9BFA432B0B}"/>
          </ac:spMkLst>
        </pc:spChg>
        <pc:spChg chg="add mod">
          <ac:chgData name="Susan Van Eyck" userId="662afd01-5edf-4fbb-b0e2-2ead5b38d415" providerId="ADAL" clId="{8CD114A1-4E37-472B-84CB-58CF44F01DB8}" dt="2020-03-04T02:00:35.607" v="14033" actId="14100"/>
          <ac:spMkLst>
            <pc:docMk/>
            <pc:sldMk cId="2077511303" sldId="618"/>
            <ac:spMk id="7" creationId="{B1085922-86B0-4E99-B4C0-255ED11E6C2C}"/>
          </ac:spMkLst>
        </pc:spChg>
        <pc:spChg chg="add mod">
          <ac:chgData name="Susan Van Eyck" userId="662afd01-5edf-4fbb-b0e2-2ead5b38d415" providerId="ADAL" clId="{8CD114A1-4E37-472B-84CB-58CF44F01DB8}" dt="2020-03-04T02:00:46.602" v="14037" actId="1038"/>
          <ac:spMkLst>
            <pc:docMk/>
            <pc:sldMk cId="2077511303" sldId="618"/>
            <ac:spMk id="8" creationId="{68D54D26-419A-41DD-9B3B-7BDB82817CF9}"/>
          </ac:spMkLst>
        </pc:spChg>
        <pc:spChg chg="add del mod">
          <ac:chgData name="Susan Van Eyck" userId="662afd01-5edf-4fbb-b0e2-2ead5b38d415" providerId="ADAL" clId="{8CD114A1-4E37-472B-84CB-58CF44F01DB8}" dt="2020-03-04T01:39:06.957" v="13869" actId="478"/>
          <ac:spMkLst>
            <pc:docMk/>
            <pc:sldMk cId="2077511303" sldId="618"/>
            <ac:spMk id="9" creationId="{EBB8CB6D-E87F-4170-B5DB-63A866B0CC90}"/>
          </ac:spMkLst>
        </pc:spChg>
        <pc:spChg chg="add mod">
          <ac:chgData name="Susan Van Eyck" userId="662afd01-5edf-4fbb-b0e2-2ead5b38d415" providerId="ADAL" clId="{8CD114A1-4E37-472B-84CB-58CF44F01DB8}" dt="2020-03-04T02:00:35.607" v="14033" actId="14100"/>
          <ac:spMkLst>
            <pc:docMk/>
            <pc:sldMk cId="2077511303" sldId="618"/>
            <ac:spMk id="10" creationId="{F3C464DF-700D-4809-B529-1A93FB74381A}"/>
          </ac:spMkLst>
        </pc:spChg>
        <pc:spChg chg="add mod">
          <ac:chgData name="Susan Van Eyck" userId="662afd01-5edf-4fbb-b0e2-2ead5b38d415" providerId="ADAL" clId="{8CD114A1-4E37-472B-84CB-58CF44F01DB8}" dt="2020-03-04T02:00:52.691" v="14038" actId="1076"/>
          <ac:spMkLst>
            <pc:docMk/>
            <pc:sldMk cId="2077511303" sldId="618"/>
            <ac:spMk id="24" creationId="{DC047AA8-4466-412E-8365-6AB7CD544493}"/>
          </ac:spMkLst>
        </pc:spChg>
        <pc:spChg chg="add mod">
          <ac:chgData name="Susan Van Eyck" userId="662afd01-5edf-4fbb-b0e2-2ead5b38d415" providerId="ADAL" clId="{8CD114A1-4E37-472B-84CB-58CF44F01DB8}" dt="2020-03-04T01:47:53.083" v="13986" actId="1076"/>
          <ac:spMkLst>
            <pc:docMk/>
            <pc:sldMk cId="2077511303" sldId="618"/>
            <ac:spMk id="25" creationId="{A834C5F4-7343-45AE-A831-1653AC98B2DC}"/>
          </ac:spMkLst>
        </pc:spChg>
        <pc:spChg chg="add mod">
          <ac:chgData name="Susan Van Eyck" userId="662afd01-5edf-4fbb-b0e2-2ead5b38d415" providerId="ADAL" clId="{8CD114A1-4E37-472B-84CB-58CF44F01DB8}" dt="2020-03-04T01:51:24.940" v="14005" actId="114"/>
          <ac:spMkLst>
            <pc:docMk/>
            <pc:sldMk cId="2077511303" sldId="618"/>
            <ac:spMk id="38" creationId="{021B8E0D-6A61-4B6F-B06B-B74393601C17}"/>
          </ac:spMkLst>
        </pc:spChg>
        <pc:spChg chg="add mod">
          <ac:chgData name="Susan Van Eyck" userId="662afd01-5edf-4fbb-b0e2-2ead5b38d415" providerId="ADAL" clId="{8CD114A1-4E37-472B-84CB-58CF44F01DB8}" dt="2020-03-04T01:48:36.606" v="13999" actId="1076"/>
          <ac:spMkLst>
            <pc:docMk/>
            <pc:sldMk cId="2077511303" sldId="618"/>
            <ac:spMk id="43" creationId="{209C18E2-F59B-4654-80C0-22A61F51B0EC}"/>
          </ac:spMkLst>
        </pc:spChg>
        <pc:spChg chg="add mod">
          <ac:chgData name="Susan Van Eyck" userId="662afd01-5edf-4fbb-b0e2-2ead5b38d415" providerId="ADAL" clId="{8CD114A1-4E37-472B-84CB-58CF44F01DB8}" dt="2020-03-04T01:51:19.800" v="14004" actId="114"/>
          <ac:spMkLst>
            <pc:docMk/>
            <pc:sldMk cId="2077511303" sldId="618"/>
            <ac:spMk id="47" creationId="{AA289680-7BCB-42CE-8C5C-2D5CAEE9812A}"/>
          </ac:spMkLst>
        </pc:spChg>
        <pc:spChg chg="add">
          <ac:chgData name="Susan Van Eyck" userId="662afd01-5edf-4fbb-b0e2-2ead5b38d415" providerId="ADAL" clId="{8CD114A1-4E37-472B-84CB-58CF44F01DB8}" dt="2020-03-04T01:59:03.307" v="14023"/>
          <ac:spMkLst>
            <pc:docMk/>
            <pc:sldMk cId="2077511303" sldId="618"/>
            <ac:spMk id="87" creationId="{5539F5F4-0B04-45E9-A328-2FA94728AF23}"/>
          </ac:spMkLst>
        </pc:spChg>
        <pc:spChg chg="add">
          <ac:chgData name="Susan Van Eyck" userId="662afd01-5edf-4fbb-b0e2-2ead5b38d415" providerId="ADAL" clId="{8CD114A1-4E37-472B-84CB-58CF44F01DB8}" dt="2020-03-04T01:59:03.307" v="14023"/>
          <ac:spMkLst>
            <pc:docMk/>
            <pc:sldMk cId="2077511303" sldId="618"/>
            <ac:spMk id="88" creationId="{ED5AD140-F6B5-4931-89D5-29FC6CDB0B80}"/>
          </ac:spMkLst>
        </pc:spChg>
        <pc:grpChg chg="add mod">
          <ac:chgData name="Susan Van Eyck" userId="662afd01-5edf-4fbb-b0e2-2ead5b38d415" providerId="ADAL" clId="{8CD114A1-4E37-472B-84CB-58CF44F01DB8}" dt="2020-03-04T01:59:05.735" v="14024"/>
          <ac:grpSpMkLst>
            <pc:docMk/>
            <pc:sldMk cId="2077511303" sldId="618"/>
            <ac:grpSpMk id="86" creationId="{F1260DE1-1234-4096-9557-C090EAF9F411}"/>
          </ac:grpSpMkLst>
        </pc:grpChg>
        <pc:picChg chg="add del mod">
          <ac:chgData name="Susan Van Eyck" userId="662afd01-5edf-4fbb-b0e2-2ead5b38d415" providerId="ADAL" clId="{8CD114A1-4E37-472B-84CB-58CF44F01DB8}" dt="2020-03-04T02:00:13.689" v="14031" actId="478"/>
          <ac:picMkLst>
            <pc:docMk/>
            <pc:sldMk cId="2077511303" sldId="618"/>
            <ac:picMk id="89" creationId="{71353313-7393-4EB9-8FC0-ADF9AF80CB06}"/>
          </ac:picMkLst>
        </pc:picChg>
        <pc:cxnChg chg="add mod">
          <ac:chgData name="Susan Van Eyck" userId="662afd01-5edf-4fbb-b0e2-2ead5b38d415" providerId="ADAL" clId="{8CD114A1-4E37-472B-84CB-58CF44F01DB8}" dt="2020-03-04T02:00:46.602" v="14037" actId="1038"/>
          <ac:cxnSpMkLst>
            <pc:docMk/>
            <pc:sldMk cId="2077511303" sldId="618"/>
            <ac:cxnSpMk id="12" creationId="{9F02D53A-36A5-42BA-8101-924697F51A4E}"/>
          </ac:cxnSpMkLst>
        </pc:cxnChg>
        <pc:cxnChg chg="add mod">
          <ac:chgData name="Susan Van Eyck" userId="662afd01-5edf-4fbb-b0e2-2ead5b38d415" providerId="ADAL" clId="{8CD114A1-4E37-472B-84CB-58CF44F01DB8}" dt="2020-03-04T02:00:35.607" v="14033" actId="14100"/>
          <ac:cxnSpMkLst>
            <pc:docMk/>
            <pc:sldMk cId="2077511303" sldId="618"/>
            <ac:cxnSpMk id="13" creationId="{B0C09F7F-86C9-450E-B473-3F57068ACE6A}"/>
          </ac:cxnSpMkLst>
        </pc:cxnChg>
        <pc:cxnChg chg="add mod">
          <ac:chgData name="Susan Van Eyck" userId="662afd01-5edf-4fbb-b0e2-2ead5b38d415" providerId="ADAL" clId="{8CD114A1-4E37-472B-84CB-58CF44F01DB8}" dt="2020-03-04T02:00:35.607" v="14033" actId="14100"/>
          <ac:cxnSpMkLst>
            <pc:docMk/>
            <pc:sldMk cId="2077511303" sldId="618"/>
            <ac:cxnSpMk id="17" creationId="{6F98BEE3-56E8-42C2-8A79-A971C558FF85}"/>
          </ac:cxnSpMkLst>
        </pc:cxnChg>
        <pc:cxnChg chg="add mod">
          <ac:chgData name="Susan Van Eyck" userId="662afd01-5edf-4fbb-b0e2-2ead5b38d415" providerId="ADAL" clId="{8CD114A1-4E37-472B-84CB-58CF44F01DB8}" dt="2020-03-04T02:00:35.607" v="14033" actId="14100"/>
          <ac:cxnSpMkLst>
            <pc:docMk/>
            <pc:sldMk cId="2077511303" sldId="618"/>
            <ac:cxnSpMk id="21" creationId="{262FF271-BCCD-4328-91F7-DEEEA42DF968}"/>
          </ac:cxnSpMkLst>
        </pc:cxnChg>
        <pc:cxnChg chg="add mod">
          <ac:chgData name="Susan Van Eyck" userId="662afd01-5edf-4fbb-b0e2-2ead5b38d415" providerId="ADAL" clId="{8CD114A1-4E37-472B-84CB-58CF44F01DB8}" dt="2020-03-04T02:00:46.602" v="14037" actId="1038"/>
          <ac:cxnSpMkLst>
            <pc:docMk/>
            <pc:sldMk cId="2077511303" sldId="618"/>
            <ac:cxnSpMk id="45" creationId="{1820555D-B759-4C96-ACE3-AAB07D2836DA}"/>
          </ac:cxnSpMkLst>
        </pc:cxnChg>
      </pc:sldChg>
      <pc:sldChg chg="modSp add del mod">
        <pc:chgData name="Susan Van Eyck" userId="662afd01-5edf-4fbb-b0e2-2ead5b38d415" providerId="ADAL" clId="{8CD114A1-4E37-472B-84CB-58CF44F01DB8}" dt="2020-03-03T16:22:02.137" v="10936" actId="47"/>
        <pc:sldMkLst>
          <pc:docMk/>
          <pc:sldMk cId="3480936462" sldId="619"/>
        </pc:sldMkLst>
        <pc:spChg chg="mod">
          <ac:chgData name="Susan Van Eyck" userId="662afd01-5edf-4fbb-b0e2-2ead5b38d415" providerId="ADAL" clId="{8CD114A1-4E37-472B-84CB-58CF44F01DB8}" dt="2020-03-03T16:21:08.522" v="10934" actId="20577"/>
          <ac:spMkLst>
            <pc:docMk/>
            <pc:sldMk cId="3480936462" sldId="619"/>
            <ac:spMk id="2" creationId="{00A8C5B5-BB38-475E-B30D-70A961E74BE5}"/>
          </ac:spMkLst>
        </pc:spChg>
      </pc:sldChg>
      <pc:sldChg chg="addSp modSp add mod modNotesTx">
        <pc:chgData name="Susan Van Eyck" userId="662afd01-5edf-4fbb-b0e2-2ead5b38d415" providerId="ADAL" clId="{8CD114A1-4E37-472B-84CB-58CF44F01DB8}" dt="2020-03-04T14:49:28.623" v="19192" actId="20577"/>
        <pc:sldMkLst>
          <pc:docMk/>
          <pc:sldMk cId="2531563089" sldId="620"/>
        </pc:sldMkLst>
        <pc:spChg chg="mod">
          <ac:chgData name="Susan Van Eyck" userId="662afd01-5edf-4fbb-b0e2-2ead5b38d415" providerId="ADAL" clId="{8CD114A1-4E37-472B-84CB-58CF44F01DB8}" dt="2020-03-04T14:47:29.876" v="19089" actId="20577"/>
          <ac:spMkLst>
            <pc:docMk/>
            <pc:sldMk cId="2531563089" sldId="620"/>
            <ac:spMk id="2" creationId="{13B38220-D8B1-49CC-9566-02F4E21AEB39}"/>
          </ac:spMkLst>
        </pc:spChg>
        <pc:spChg chg="add mod">
          <ac:chgData name="Susan Van Eyck" userId="662afd01-5edf-4fbb-b0e2-2ead5b38d415" providerId="ADAL" clId="{8CD114A1-4E37-472B-84CB-58CF44F01DB8}" dt="2020-03-04T02:08:02.748" v="14233" actId="1076"/>
          <ac:spMkLst>
            <pc:docMk/>
            <pc:sldMk cId="2531563089" sldId="620"/>
            <ac:spMk id="3" creationId="{3A8BC14F-2D98-4C89-B913-E0613170CAB5}"/>
          </ac:spMkLst>
        </pc:spChg>
        <pc:spChg chg="add mod">
          <ac:chgData name="Susan Van Eyck" userId="662afd01-5edf-4fbb-b0e2-2ead5b38d415" providerId="ADAL" clId="{8CD114A1-4E37-472B-84CB-58CF44F01DB8}" dt="2020-03-04T02:09:02.292" v="14262" actId="20577"/>
          <ac:spMkLst>
            <pc:docMk/>
            <pc:sldMk cId="2531563089" sldId="620"/>
            <ac:spMk id="8" creationId="{90108884-1DBA-4B16-BD7E-E94DE6853026}"/>
          </ac:spMkLst>
        </pc:spChg>
        <pc:graphicFrameChg chg="mod">
          <ac:chgData name="Susan Van Eyck" userId="662afd01-5edf-4fbb-b0e2-2ead5b38d415" providerId="ADAL" clId="{8CD114A1-4E37-472B-84CB-58CF44F01DB8}" dt="2020-03-04T14:36:18.608" v="18968" actId="20577"/>
          <ac:graphicFrameMkLst>
            <pc:docMk/>
            <pc:sldMk cId="2531563089" sldId="620"/>
            <ac:graphicFrameMk id="6" creationId="{5B8AE85A-49AB-4B7D-B64D-F4C588116D35}"/>
          </ac:graphicFrameMkLst>
        </pc:graphicFrameChg>
        <pc:graphicFrameChg chg="mod">
          <ac:chgData name="Susan Van Eyck" userId="662afd01-5edf-4fbb-b0e2-2ead5b38d415" providerId="ADAL" clId="{8CD114A1-4E37-472B-84CB-58CF44F01DB8}" dt="2020-03-04T02:10:25.811" v="14282" actId="20577"/>
          <ac:graphicFrameMkLst>
            <pc:docMk/>
            <pc:sldMk cId="2531563089" sldId="620"/>
            <ac:graphicFrameMk id="7" creationId="{07B58EF0-D344-4EB4-BD4B-728143E8897D}"/>
          </ac:graphicFrameMkLst>
        </pc:graphicFrameChg>
      </pc:sldChg>
      <pc:sldChg chg="addSp delSp modSp add mod">
        <pc:chgData name="Susan Van Eyck" userId="662afd01-5edf-4fbb-b0e2-2ead5b38d415" providerId="ADAL" clId="{8CD114A1-4E37-472B-84CB-58CF44F01DB8}" dt="2020-03-04T20:58:17.210" v="23041" actId="20577"/>
        <pc:sldMkLst>
          <pc:docMk/>
          <pc:sldMk cId="902234591" sldId="621"/>
        </pc:sldMkLst>
        <pc:spChg chg="mod">
          <ac:chgData name="Susan Van Eyck" userId="662afd01-5edf-4fbb-b0e2-2ead5b38d415" providerId="ADAL" clId="{8CD114A1-4E37-472B-84CB-58CF44F01DB8}" dt="2020-03-03T17:08:43.137" v="11553" actId="20577"/>
          <ac:spMkLst>
            <pc:docMk/>
            <pc:sldMk cId="902234591" sldId="621"/>
            <ac:spMk id="2" creationId="{24EC3A1F-9A91-4DC6-8307-B301A8257322}"/>
          </ac:spMkLst>
        </pc:spChg>
        <pc:spChg chg="del mod">
          <ac:chgData name="Susan Van Eyck" userId="662afd01-5edf-4fbb-b0e2-2ead5b38d415" providerId="ADAL" clId="{8CD114A1-4E37-472B-84CB-58CF44F01DB8}" dt="2020-03-03T17:11:01.913" v="11557" actId="12084"/>
          <ac:spMkLst>
            <pc:docMk/>
            <pc:sldMk cId="902234591" sldId="621"/>
            <ac:spMk id="4" creationId="{208223A1-5A09-4E71-9587-3B66DDEB376D}"/>
          </ac:spMkLst>
        </pc:spChg>
        <pc:spChg chg="add mod">
          <ac:chgData name="Susan Van Eyck" userId="662afd01-5edf-4fbb-b0e2-2ead5b38d415" providerId="ADAL" clId="{8CD114A1-4E37-472B-84CB-58CF44F01DB8}" dt="2020-03-04T20:50:50.933" v="22760" actId="1076"/>
          <ac:spMkLst>
            <pc:docMk/>
            <pc:sldMk cId="902234591" sldId="621"/>
            <ac:spMk id="4" creationId="{F9571E35-55A2-478F-9915-8997EF68AE06}"/>
          </ac:spMkLst>
        </pc:spChg>
        <pc:graphicFrameChg chg="add mod">
          <ac:chgData name="Susan Van Eyck" userId="662afd01-5edf-4fbb-b0e2-2ead5b38d415" providerId="ADAL" clId="{8CD114A1-4E37-472B-84CB-58CF44F01DB8}" dt="2020-03-04T20:58:17.210" v="23041" actId="20577"/>
          <ac:graphicFrameMkLst>
            <pc:docMk/>
            <pc:sldMk cId="902234591" sldId="621"/>
            <ac:graphicFrameMk id="5" creationId="{A9D528C9-5738-4D9E-B255-9CBBA3D7DF93}"/>
          </ac:graphicFrameMkLst>
        </pc:graphicFrameChg>
      </pc:sldChg>
      <pc:sldChg chg="addSp delSp modSp add del mod">
        <pc:chgData name="Susan Van Eyck" userId="662afd01-5edf-4fbb-b0e2-2ead5b38d415" providerId="ADAL" clId="{8CD114A1-4E37-472B-84CB-58CF44F01DB8}" dt="2020-03-03T16:52:57.147" v="11272" actId="47"/>
        <pc:sldMkLst>
          <pc:docMk/>
          <pc:sldMk cId="2061861172" sldId="621"/>
        </pc:sldMkLst>
        <pc:spChg chg="del mod">
          <ac:chgData name="Susan Van Eyck" userId="662afd01-5edf-4fbb-b0e2-2ead5b38d415" providerId="ADAL" clId="{8CD114A1-4E37-472B-84CB-58CF44F01DB8}" dt="2020-03-03T16:42:32.595" v="11238" actId="12084"/>
          <ac:spMkLst>
            <pc:docMk/>
            <pc:sldMk cId="2061861172" sldId="621"/>
            <ac:spMk id="3" creationId="{D917AADC-176B-4FBA-A70A-565AF7EEB305}"/>
          </ac:spMkLst>
        </pc:spChg>
        <pc:graphicFrameChg chg="add mod">
          <ac:chgData name="Susan Van Eyck" userId="662afd01-5edf-4fbb-b0e2-2ead5b38d415" providerId="ADAL" clId="{8CD114A1-4E37-472B-84CB-58CF44F01DB8}" dt="2020-03-03T16:42:32.595" v="11238" actId="12084"/>
          <ac:graphicFrameMkLst>
            <pc:docMk/>
            <pc:sldMk cId="2061861172" sldId="621"/>
            <ac:graphicFrameMk id="4" creationId="{9B622B82-5031-4FE5-8EFC-77A156C38B77}"/>
          </ac:graphicFrameMkLst>
        </pc:graphicFrameChg>
      </pc:sldChg>
      <pc:sldChg chg="addSp delSp modSp add mod chgLayout">
        <pc:chgData name="Susan Van Eyck" userId="662afd01-5edf-4fbb-b0e2-2ead5b38d415" providerId="ADAL" clId="{8CD114A1-4E37-472B-84CB-58CF44F01DB8}" dt="2020-03-03T17:58:37.242" v="12580" actId="20577"/>
        <pc:sldMkLst>
          <pc:docMk/>
          <pc:sldMk cId="3940105556" sldId="622"/>
        </pc:sldMkLst>
        <pc:spChg chg="del mod ord">
          <ac:chgData name="Susan Van Eyck" userId="662afd01-5edf-4fbb-b0e2-2ead5b38d415" providerId="ADAL" clId="{8CD114A1-4E37-472B-84CB-58CF44F01DB8}" dt="2020-03-03T17:46:45.608" v="12134" actId="700"/>
          <ac:spMkLst>
            <pc:docMk/>
            <pc:sldMk cId="3940105556" sldId="622"/>
            <ac:spMk id="2" creationId="{D248B939-7A39-4927-86C5-B9A37F0B2CEA}"/>
          </ac:spMkLst>
        </pc:spChg>
        <pc:spChg chg="del mod ord">
          <ac:chgData name="Susan Van Eyck" userId="662afd01-5edf-4fbb-b0e2-2ead5b38d415" providerId="ADAL" clId="{8CD114A1-4E37-472B-84CB-58CF44F01DB8}" dt="2020-03-03T17:46:45.608" v="12134" actId="700"/>
          <ac:spMkLst>
            <pc:docMk/>
            <pc:sldMk cId="3940105556" sldId="622"/>
            <ac:spMk id="3" creationId="{B013F068-1B5D-4CA9-8879-EE31A71F34BA}"/>
          </ac:spMkLst>
        </pc:spChg>
        <pc:spChg chg="del mod ord">
          <ac:chgData name="Susan Van Eyck" userId="662afd01-5edf-4fbb-b0e2-2ead5b38d415" providerId="ADAL" clId="{8CD114A1-4E37-472B-84CB-58CF44F01DB8}" dt="2020-03-03T17:46:45.608" v="12134" actId="700"/>
          <ac:spMkLst>
            <pc:docMk/>
            <pc:sldMk cId="3940105556" sldId="622"/>
            <ac:spMk id="4" creationId="{769292C6-751D-421B-81A2-A2F22E9B63BB}"/>
          </ac:spMkLst>
        </pc:spChg>
        <pc:spChg chg="add mod ord">
          <ac:chgData name="Susan Van Eyck" userId="662afd01-5edf-4fbb-b0e2-2ead5b38d415" providerId="ADAL" clId="{8CD114A1-4E37-472B-84CB-58CF44F01DB8}" dt="2020-03-03T17:46:45.608" v="12134" actId="700"/>
          <ac:spMkLst>
            <pc:docMk/>
            <pc:sldMk cId="3940105556" sldId="622"/>
            <ac:spMk id="5" creationId="{9A4DEECC-F5C2-4627-8C32-1ED199BCF508}"/>
          </ac:spMkLst>
        </pc:spChg>
        <pc:spChg chg="add mod ord">
          <ac:chgData name="Susan Van Eyck" userId="662afd01-5edf-4fbb-b0e2-2ead5b38d415" providerId="ADAL" clId="{8CD114A1-4E37-472B-84CB-58CF44F01DB8}" dt="2020-03-03T17:46:45.608" v="12134" actId="700"/>
          <ac:spMkLst>
            <pc:docMk/>
            <pc:sldMk cId="3940105556" sldId="622"/>
            <ac:spMk id="6" creationId="{F7089D75-5C39-436A-8445-9F63C05F181D}"/>
          </ac:spMkLst>
        </pc:spChg>
        <pc:spChg chg="add mod ord">
          <ac:chgData name="Susan Van Eyck" userId="662afd01-5edf-4fbb-b0e2-2ead5b38d415" providerId="ADAL" clId="{8CD114A1-4E37-472B-84CB-58CF44F01DB8}" dt="2020-03-03T17:58:37.242" v="12580" actId="20577"/>
          <ac:spMkLst>
            <pc:docMk/>
            <pc:sldMk cId="3940105556" sldId="622"/>
            <ac:spMk id="7" creationId="{90E6C7F1-F2A6-4F54-9F9F-4A26AD7FF5FD}"/>
          </ac:spMkLst>
        </pc:spChg>
      </pc:sldChg>
      <pc:sldChg chg="addSp modSp add del mod">
        <pc:chgData name="Susan Van Eyck" userId="662afd01-5edf-4fbb-b0e2-2ead5b38d415" providerId="ADAL" clId="{8CD114A1-4E37-472B-84CB-58CF44F01DB8}" dt="2020-03-03T17:24:52.592" v="11678" actId="47"/>
        <pc:sldMkLst>
          <pc:docMk/>
          <pc:sldMk cId="3994778302" sldId="622"/>
        </pc:sldMkLst>
        <pc:spChg chg="mod">
          <ac:chgData name="Susan Van Eyck" userId="662afd01-5edf-4fbb-b0e2-2ead5b38d415" providerId="ADAL" clId="{8CD114A1-4E37-472B-84CB-58CF44F01DB8}" dt="2020-03-03T17:21:24.366" v="11667" actId="20577"/>
          <ac:spMkLst>
            <pc:docMk/>
            <pc:sldMk cId="3994778302" sldId="622"/>
            <ac:spMk id="2" creationId="{EB67312A-9819-43C6-8D84-D9136E6CFFCC}"/>
          </ac:spMkLst>
        </pc:spChg>
        <pc:spChg chg="add mod">
          <ac:chgData name="Susan Van Eyck" userId="662afd01-5edf-4fbb-b0e2-2ead5b38d415" providerId="ADAL" clId="{8CD114A1-4E37-472B-84CB-58CF44F01DB8}" dt="2020-03-03T17:22:01.427" v="11674" actId="113"/>
          <ac:spMkLst>
            <pc:docMk/>
            <pc:sldMk cId="3994778302" sldId="622"/>
            <ac:spMk id="4" creationId="{885AF427-9F7E-4C1D-97AE-897400F98A49}"/>
          </ac:spMkLst>
        </pc:spChg>
        <pc:graphicFrameChg chg="add mod">
          <ac:chgData name="Susan Van Eyck" userId="662afd01-5edf-4fbb-b0e2-2ead5b38d415" providerId="ADAL" clId="{8CD114A1-4E37-472B-84CB-58CF44F01DB8}" dt="2020-03-03T17:21:02.357" v="11643" actId="20577"/>
          <ac:graphicFrameMkLst>
            <pc:docMk/>
            <pc:sldMk cId="3994778302" sldId="622"/>
            <ac:graphicFrameMk id="5" creationId="{1D1BA9C8-0D2E-4EC9-80C0-C946CE5F6FE1}"/>
          </ac:graphicFrameMkLst>
        </pc:graphicFrameChg>
        <pc:graphicFrameChg chg="mod">
          <ac:chgData name="Susan Van Eyck" userId="662afd01-5edf-4fbb-b0e2-2ead5b38d415" providerId="ADAL" clId="{8CD114A1-4E37-472B-84CB-58CF44F01DB8}" dt="2020-03-03T17:18:57.824" v="11618" actId="14100"/>
          <ac:graphicFrameMkLst>
            <pc:docMk/>
            <pc:sldMk cId="3994778302" sldId="622"/>
            <ac:graphicFrameMk id="6" creationId="{40F1CCF2-70F1-42A8-8D40-9CE7C0C535D0}"/>
          </ac:graphicFrameMkLst>
        </pc:graphicFrameChg>
      </pc:sldChg>
      <pc:sldChg chg="add">
        <pc:chgData name="Susan Van Eyck" userId="662afd01-5edf-4fbb-b0e2-2ead5b38d415" providerId="ADAL" clId="{8CD114A1-4E37-472B-84CB-58CF44F01DB8}" dt="2020-03-03T17:51:16.582" v="12332" actId="22"/>
        <pc:sldMkLst>
          <pc:docMk/>
          <pc:sldMk cId="2823407042" sldId="623"/>
        </pc:sldMkLst>
      </pc:sldChg>
      <pc:sldChg chg="add del">
        <pc:chgData name="Susan Van Eyck" userId="662afd01-5edf-4fbb-b0e2-2ead5b38d415" providerId="ADAL" clId="{8CD114A1-4E37-472B-84CB-58CF44F01DB8}" dt="2020-03-06T22:08:15.943" v="26569" actId="22"/>
        <pc:sldMkLst>
          <pc:docMk/>
          <pc:sldMk cId="913852743" sldId="624"/>
        </pc:sldMkLst>
      </pc:sldChg>
      <pc:sldChg chg="add del">
        <pc:chgData name="Susan Van Eyck" userId="662afd01-5edf-4fbb-b0e2-2ead5b38d415" providerId="ADAL" clId="{8CD114A1-4E37-472B-84CB-58CF44F01DB8}" dt="2020-03-06T22:03:09.549" v="25890" actId="47"/>
        <pc:sldMkLst>
          <pc:docMk/>
          <pc:sldMk cId="2699592683" sldId="624"/>
        </pc:sldMkLst>
      </pc:sldChg>
      <pc:sldChg chg="add del modNotesTx">
        <pc:chgData name="Susan Van Eyck" userId="662afd01-5edf-4fbb-b0e2-2ead5b38d415" providerId="ADAL" clId="{8CD114A1-4E37-472B-84CB-58CF44F01DB8}" dt="2020-03-06T22:11:16.987" v="26800" actId="47"/>
        <pc:sldMkLst>
          <pc:docMk/>
          <pc:sldMk cId="2767317593" sldId="624"/>
        </pc:sldMkLst>
      </pc:sldChg>
      <pc:sldMasterChg chg="addSldLayout">
        <pc:chgData name="Susan Van Eyck" userId="662afd01-5edf-4fbb-b0e2-2ead5b38d415" providerId="ADAL" clId="{8CD114A1-4E37-472B-84CB-58CF44F01DB8}" dt="2020-03-01T18:23:52.125" v="6525" actId="22"/>
        <pc:sldMasterMkLst>
          <pc:docMk/>
          <pc:sldMasterMk cId="1044402230" sldId="2147483706"/>
        </pc:sldMasterMkLst>
        <pc:sldLayoutChg chg="add">
          <pc:chgData name="Susan Van Eyck" userId="662afd01-5edf-4fbb-b0e2-2ead5b38d415" providerId="ADAL" clId="{8CD114A1-4E37-472B-84CB-58CF44F01DB8}" dt="2020-03-01T18:23:52.125" v="6525" actId="22"/>
          <pc:sldLayoutMkLst>
            <pc:docMk/>
            <pc:sldMasterMk cId="1044402230" sldId="2147483706"/>
            <pc:sldLayoutMk cId="3041903432" sldId="2147483754"/>
          </pc:sldLayoutMkLst>
        </pc:sldLayoutChg>
        <pc:sldLayoutChg chg="add replId">
          <pc:chgData name="Susan Van Eyck" userId="662afd01-5edf-4fbb-b0e2-2ead5b38d415" providerId="ADAL" clId="{8CD114A1-4E37-472B-84CB-58CF44F01DB8}" dt="2020-03-01T18:23:52.125" v="6525" actId="22"/>
          <pc:sldLayoutMkLst>
            <pc:docMk/>
            <pc:sldMasterMk cId="1044402230" sldId="2147483706"/>
            <pc:sldLayoutMk cId="1312898289" sldId="2147483755"/>
          </pc:sldLayoutMkLst>
        </pc:sldLayoutChg>
      </pc:sldMasterChg>
    </pc:docChg>
  </pc:docChgLst>
  <pc:docChgLst>
    <pc:chgData name="Sam Mesel" userId="1ee7badb-5d1f-4872-89ae-dcf7b71f276a" providerId="ADAL" clId="{8997ABD6-29D5-436A-9CE4-073E0521DF5D}"/>
    <pc:docChg chg="custSel modSld">
      <pc:chgData name="Sam Mesel" userId="1ee7badb-5d1f-4872-89ae-dcf7b71f276a" providerId="ADAL" clId="{8997ABD6-29D5-436A-9CE4-073E0521DF5D}" dt="2020-05-07T20:39:30.634" v="2" actId="478"/>
      <pc:docMkLst>
        <pc:docMk/>
      </pc:docMkLst>
      <pc:sldChg chg="delSp mod">
        <pc:chgData name="Sam Mesel" userId="1ee7badb-5d1f-4872-89ae-dcf7b71f276a" providerId="ADAL" clId="{8997ABD6-29D5-436A-9CE4-073E0521DF5D}" dt="2020-05-07T20:39:30.634" v="2" actId="478"/>
        <pc:sldMkLst>
          <pc:docMk/>
          <pc:sldMk cId="3877797472" sldId="582"/>
        </pc:sldMkLst>
        <pc:spChg chg="del">
          <ac:chgData name="Sam Mesel" userId="1ee7badb-5d1f-4872-89ae-dcf7b71f276a" providerId="ADAL" clId="{8997ABD6-29D5-436A-9CE4-073E0521DF5D}" dt="2020-05-07T20:39:30.634" v="2" actId="478"/>
          <ac:spMkLst>
            <pc:docMk/>
            <pc:sldMk cId="3877797472" sldId="582"/>
            <ac:spMk id="3" creationId="{F35E8CBB-5A7D-4DEF-BAF7-8DD5D042F9E0}"/>
          </ac:spMkLst>
        </pc:spChg>
      </pc:sldChg>
      <pc:sldChg chg="modSp mod">
        <pc:chgData name="Sam Mesel" userId="1ee7badb-5d1f-4872-89ae-dcf7b71f276a" providerId="ADAL" clId="{8997ABD6-29D5-436A-9CE4-073E0521DF5D}" dt="2020-05-07T20:37:45.478" v="1" actId="1076"/>
        <pc:sldMkLst>
          <pc:docMk/>
          <pc:sldMk cId="89027789" sldId="625"/>
        </pc:sldMkLst>
        <pc:picChg chg="mod">
          <ac:chgData name="Sam Mesel" userId="1ee7badb-5d1f-4872-89ae-dcf7b71f276a" providerId="ADAL" clId="{8997ABD6-29D5-436A-9CE4-073E0521DF5D}" dt="2020-05-07T20:37:45.478" v="1" actId="1076"/>
          <ac:picMkLst>
            <pc:docMk/>
            <pc:sldMk cId="89027789" sldId="625"/>
            <ac:picMk id="12" creationId="{16ED6B3F-2F5E-4E48-9074-FDEA740AB14B}"/>
          </ac:picMkLst>
        </pc:picChg>
      </pc:sldChg>
    </pc:docChg>
  </pc:docChgLst>
  <pc:docChgLst>
    <pc:chgData name="Batuhan Yildiz" userId="90f344fc-4655-4923-aeaf-697bba59c1a7" providerId="ADAL" clId="{73D0611D-A011-47A1-B2AD-14FD4A842E01}"/>
    <pc:docChg chg="undo custSel delSld modSld delSection modSection">
      <pc:chgData name="Batuhan Yildiz" userId="90f344fc-4655-4923-aeaf-697bba59c1a7" providerId="ADAL" clId="{73D0611D-A011-47A1-B2AD-14FD4A842E01}" dt="2020-01-30T08:11:45.946" v="225" actId="17851"/>
      <pc:docMkLst>
        <pc:docMk/>
      </pc:docMkLst>
      <pc:sldChg chg="modSp mod">
        <pc:chgData name="Batuhan Yildiz" userId="90f344fc-4655-4923-aeaf-697bba59c1a7" providerId="ADAL" clId="{73D0611D-A011-47A1-B2AD-14FD4A842E01}" dt="2020-01-30T08:01:56.455" v="12" actId="20577"/>
        <pc:sldMkLst>
          <pc:docMk/>
          <pc:sldMk cId="1196121053" sldId="260"/>
        </pc:sldMkLst>
        <pc:spChg chg="mod">
          <ac:chgData name="Batuhan Yildiz" userId="90f344fc-4655-4923-aeaf-697bba59c1a7" providerId="ADAL" clId="{73D0611D-A011-47A1-B2AD-14FD4A842E01}" dt="2020-01-30T08:01:51.602" v="10" actId="20577"/>
          <ac:spMkLst>
            <pc:docMk/>
            <pc:sldMk cId="1196121053" sldId="260"/>
            <ac:spMk id="4" creationId="{5D85DF47-300F-4085-B774-DDE734B96F99}"/>
          </ac:spMkLst>
        </pc:spChg>
        <pc:spChg chg="mod">
          <ac:chgData name="Batuhan Yildiz" userId="90f344fc-4655-4923-aeaf-697bba59c1a7" providerId="ADAL" clId="{73D0611D-A011-47A1-B2AD-14FD4A842E01}" dt="2020-01-30T08:01:56.455" v="12" actId="20577"/>
          <ac:spMkLst>
            <pc:docMk/>
            <pc:sldMk cId="1196121053" sldId="260"/>
            <ac:spMk id="5" creationId="{806AE5AE-CAF0-4BF4-872E-C97AF8874A6F}"/>
          </ac:spMkLst>
        </pc:spChg>
      </pc:sldChg>
      <pc:sldChg chg="modSp mod">
        <pc:chgData name="Batuhan Yildiz" userId="90f344fc-4655-4923-aeaf-697bba59c1a7" providerId="ADAL" clId="{73D0611D-A011-47A1-B2AD-14FD4A842E01}" dt="2020-01-30T08:05:04.119" v="75" actId="20577"/>
        <pc:sldMkLst>
          <pc:docMk/>
          <pc:sldMk cId="2621600474" sldId="534"/>
        </pc:sldMkLst>
        <pc:spChg chg="mod">
          <ac:chgData name="Batuhan Yildiz" userId="90f344fc-4655-4923-aeaf-697bba59c1a7" providerId="ADAL" clId="{73D0611D-A011-47A1-B2AD-14FD4A842E01}" dt="2020-01-30T08:05:04.119" v="75" actId="20577"/>
          <ac:spMkLst>
            <pc:docMk/>
            <pc:sldMk cId="2621600474" sldId="534"/>
            <ac:spMk id="5" creationId="{55182462-DFDF-4D48-A92C-42FD52821C4E}"/>
          </ac:spMkLst>
        </pc:spChg>
      </pc:sldChg>
      <pc:sldChg chg="modSp mod">
        <pc:chgData name="Batuhan Yildiz" userId="90f344fc-4655-4923-aeaf-697bba59c1a7" providerId="ADAL" clId="{73D0611D-A011-47A1-B2AD-14FD4A842E01}" dt="2020-01-30T08:03:02.729" v="18" actId="14100"/>
        <pc:sldMkLst>
          <pc:docMk/>
          <pc:sldMk cId="4083746080" sldId="561"/>
        </pc:sldMkLst>
        <pc:spChg chg="mod">
          <ac:chgData name="Batuhan Yildiz" userId="90f344fc-4655-4923-aeaf-697bba59c1a7" providerId="ADAL" clId="{73D0611D-A011-47A1-B2AD-14FD4A842E01}" dt="2020-01-30T08:03:02.729" v="18" actId="14100"/>
          <ac:spMkLst>
            <pc:docMk/>
            <pc:sldMk cId="4083746080" sldId="561"/>
            <ac:spMk id="2" creationId="{74CD77A6-E28D-4D8D-9FE5-64ADAA827AC9}"/>
          </ac:spMkLst>
        </pc:spChg>
      </pc:sldChg>
      <pc:sldChg chg="modSp mod">
        <pc:chgData name="Batuhan Yildiz" userId="90f344fc-4655-4923-aeaf-697bba59c1a7" providerId="ADAL" clId="{73D0611D-A011-47A1-B2AD-14FD4A842E01}" dt="2020-01-30T08:02:33.981" v="14" actId="14100"/>
        <pc:sldMkLst>
          <pc:docMk/>
          <pc:sldMk cId="1615560134" sldId="562"/>
        </pc:sldMkLst>
        <pc:spChg chg="mod">
          <ac:chgData name="Batuhan Yildiz" userId="90f344fc-4655-4923-aeaf-697bba59c1a7" providerId="ADAL" clId="{73D0611D-A011-47A1-B2AD-14FD4A842E01}" dt="2020-01-30T08:02:33.981" v="14" actId="14100"/>
          <ac:spMkLst>
            <pc:docMk/>
            <pc:sldMk cId="1615560134" sldId="562"/>
            <ac:spMk id="3" creationId="{859B2BAE-A383-4E74-B3CF-9AC64DA11727}"/>
          </ac:spMkLst>
        </pc:spChg>
      </pc:sldChg>
      <pc:sldChg chg="modSp">
        <pc:chgData name="Batuhan Yildiz" userId="90f344fc-4655-4923-aeaf-697bba59c1a7" providerId="ADAL" clId="{73D0611D-A011-47A1-B2AD-14FD4A842E01}" dt="2020-01-30T08:05:37.854" v="76"/>
        <pc:sldMkLst>
          <pc:docMk/>
          <pc:sldMk cId="289400407" sldId="564"/>
        </pc:sldMkLst>
        <pc:spChg chg="mod">
          <ac:chgData name="Batuhan Yildiz" userId="90f344fc-4655-4923-aeaf-697bba59c1a7" providerId="ADAL" clId="{73D0611D-A011-47A1-B2AD-14FD4A842E01}" dt="2020-01-30T08:05:37.854" v="76"/>
          <ac:spMkLst>
            <pc:docMk/>
            <pc:sldMk cId="289400407" sldId="564"/>
            <ac:spMk id="2" creationId="{74CD77A6-E28D-4D8D-9FE5-64ADAA827AC9}"/>
          </ac:spMkLst>
        </pc:spChg>
      </pc:sldChg>
      <pc:sldChg chg="modSp mod">
        <pc:chgData name="Batuhan Yildiz" userId="90f344fc-4655-4923-aeaf-697bba59c1a7" providerId="ADAL" clId="{73D0611D-A011-47A1-B2AD-14FD4A842E01}" dt="2020-01-30T08:08:29.799" v="134" actId="6549"/>
        <pc:sldMkLst>
          <pc:docMk/>
          <pc:sldMk cId="2034824179" sldId="565"/>
        </pc:sldMkLst>
        <pc:spChg chg="mod">
          <ac:chgData name="Batuhan Yildiz" userId="90f344fc-4655-4923-aeaf-697bba59c1a7" providerId="ADAL" clId="{73D0611D-A011-47A1-B2AD-14FD4A842E01}" dt="2020-01-30T08:08:29.799" v="134" actId="6549"/>
          <ac:spMkLst>
            <pc:docMk/>
            <pc:sldMk cId="2034824179" sldId="565"/>
            <ac:spMk id="5" creationId="{55182462-DFDF-4D48-A92C-42FD52821C4E}"/>
          </ac:spMkLst>
        </pc:spChg>
      </pc:sldChg>
      <pc:sldChg chg="modSp">
        <pc:chgData name="Batuhan Yildiz" userId="90f344fc-4655-4923-aeaf-697bba59c1a7" providerId="ADAL" clId="{73D0611D-A011-47A1-B2AD-14FD4A842E01}" dt="2020-01-30T08:08:56.695" v="135"/>
        <pc:sldMkLst>
          <pc:docMk/>
          <pc:sldMk cId="57495843" sldId="571"/>
        </pc:sldMkLst>
        <pc:spChg chg="mod">
          <ac:chgData name="Batuhan Yildiz" userId="90f344fc-4655-4923-aeaf-697bba59c1a7" providerId="ADAL" clId="{73D0611D-A011-47A1-B2AD-14FD4A842E01}" dt="2020-01-30T08:08:56.695" v="135"/>
          <ac:spMkLst>
            <pc:docMk/>
            <pc:sldMk cId="57495843" sldId="571"/>
            <ac:spMk id="2" creationId="{74CD77A6-E28D-4D8D-9FE5-64ADAA827AC9}"/>
          </ac:spMkLst>
        </pc:spChg>
      </pc:sldChg>
      <pc:sldChg chg="modSp mod">
        <pc:chgData name="Batuhan Yildiz" userId="90f344fc-4655-4923-aeaf-697bba59c1a7" providerId="ADAL" clId="{73D0611D-A011-47A1-B2AD-14FD4A842E01}" dt="2020-01-30T08:10:43.661" v="220" actId="20577"/>
        <pc:sldMkLst>
          <pc:docMk/>
          <pc:sldMk cId="2314306782" sldId="572"/>
        </pc:sldMkLst>
        <pc:spChg chg="mod">
          <ac:chgData name="Batuhan Yildiz" userId="90f344fc-4655-4923-aeaf-697bba59c1a7" providerId="ADAL" clId="{73D0611D-A011-47A1-B2AD-14FD4A842E01}" dt="2020-01-30T08:10:43.661" v="220" actId="20577"/>
          <ac:spMkLst>
            <pc:docMk/>
            <pc:sldMk cId="2314306782" sldId="572"/>
            <ac:spMk id="5" creationId="{55182462-DFDF-4D48-A92C-42FD52821C4E}"/>
          </ac:spMkLst>
        </pc:spChg>
      </pc:sldChg>
      <pc:sldChg chg="del">
        <pc:chgData name="Batuhan Yildiz" userId="90f344fc-4655-4923-aeaf-697bba59c1a7" providerId="ADAL" clId="{73D0611D-A011-47A1-B2AD-14FD4A842E01}" dt="2020-01-30T08:11:06.931" v="221" actId="47"/>
        <pc:sldMkLst>
          <pc:docMk/>
          <pc:sldMk cId="2604901344" sldId="578"/>
        </pc:sldMkLst>
      </pc:sldChg>
      <pc:sldChg chg="del">
        <pc:chgData name="Batuhan Yildiz" userId="90f344fc-4655-4923-aeaf-697bba59c1a7" providerId="ADAL" clId="{73D0611D-A011-47A1-B2AD-14FD4A842E01}" dt="2020-01-30T08:11:06.931" v="221" actId="47"/>
        <pc:sldMkLst>
          <pc:docMk/>
          <pc:sldMk cId="1403018791" sldId="579"/>
        </pc:sldMkLst>
      </pc:sldChg>
      <pc:sldChg chg="del">
        <pc:chgData name="Batuhan Yildiz" userId="90f344fc-4655-4923-aeaf-697bba59c1a7" providerId="ADAL" clId="{73D0611D-A011-47A1-B2AD-14FD4A842E01}" dt="2020-01-30T08:11:06.931" v="221" actId="47"/>
        <pc:sldMkLst>
          <pc:docMk/>
          <pc:sldMk cId="3819752479" sldId="580"/>
        </pc:sldMkLst>
      </pc:sldChg>
      <pc:sldChg chg="del">
        <pc:chgData name="Batuhan Yildiz" userId="90f344fc-4655-4923-aeaf-697bba59c1a7" providerId="ADAL" clId="{73D0611D-A011-47A1-B2AD-14FD4A842E01}" dt="2020-01-30T08:11:06.931" v="221" actId="47"/>
        <pc:sldMkLst>
          <pc:docMk/>
          <pc:sldMk cId="159196581" sldId="581"/>
        </pc:sldMkLst>
      </pc:sldChg>
      <pc:sldChg chg="del">
        <pc:chgData name="Batuhan Yildiz" userId="90f344fc-4655-4923-aeaf-697bba59c1a7" providerId="ADAL" clId="{73D0611D-A011-47A1-B2AD-14FD4A842E01}" dt="2020-01-30T08:11:06.931" v="221" actId="47"/>
        <pc:sldMkLst>
          <pc:docMk/>
          <pc:sldMk cId="1046573154" sldId="582"/>
        </pc:sldMkLst>
      </pc:sldChg>
      <pc:sldChg chg="del">
        <pc:chgData name="Batuhan Yildiz" userId="90f344fc-4655-4923-aeaf-697bba59c1a7" providerId="ADAL" clId="{73D0611D-A011-47A1-B2AD-14FD4A842E01}" dt="2020-01-30T08:11:06.931" v="221" actId="47"/>
        <pc:sldMkLst>
          <pc:docMk/>
          <pc:sldMk cId="3001108781" sldId="583"/>
        </pc:sldMkLst>
      </pc:sldChg>
      <pc:sldChg chg="del">
        <pc:chgData name="Batuhan Yildiz" userId="90f344fc-4655-4923-aeaf-697bba59c1a7" providerId="ADAL" clId="{73D0611D-A011-47A1-B2AD-14FD4A842E01}" dt="2020-01-30T08:11:06.931" v="221" actId="47"/>
        <pc:sldMkLst>
          <pc:docMk/>
          <pc:sldMk cId="2092846825" sldId="584"/>
        </pc:sldMkLst>
      </pc:sldChg>
      <pc:sldChg chg="del">
        <pc:chgData name="Batuhan Yildiz" userId="90f344fc-4655-4923-aeaf-697bba59c1a7" providerId="ADAL" clId="{73D0611D-A011-47A1-B2AD-14FD4A842E01}" dt="2020-01-30T08:11:06.931" v="221" actId="47"/>
        <pc:sldMkLst>
          <pc:docMk/>
          <pc:sldMk cId="4221138358" sldId="585"/>
        </pc:sldMkLst>
      </pc:sldChg>
      <pc:sldChg chg="del">
        <pc:chgData name="Batuhan Yildiz" userId="90f344fc-4655-4923-aeaf-697bba59c1a7" providerId="ADAL" clId="{73D0611D-A011-47A1-B2AD-14FD4A842E01}" dt="2020-01-30T08:11:06.931" v="221" actId="47"/>
        <pc:sldMkLst>
          <pc:docMk/>
          <pc:sldMk cId="577140418" sldId="586"/>
        </pc:sldMkLst>
      </pc:sldChg>
      <pc:sldChg chg="del">
        <pc:chgData name="Batuhan Yildiz" userId="90f344fc-4655-4923-aeaf-697bba59c1a7" providerId="ADAL" clId="{73D0611D-A011-47A1-B2AD-14FD4A842E01}" dt="2020-01-30T08:11:06.931" v="221" actId="47"/>
        <pc:sldMkLst>
          <pc:docMk/>
          <pc:sldMk cId="661700826" sldId="587"/>
        </pc:sldMkLst>
      </pc:sldChg>
      <pc:sldChg chg="del">
        <pc:chgData name="Batuhan Yildiz" userId="90f344fc-4655-4923-aeaf-697bba59c1a7" providerId="ADAL" clId="{73D0611D-A011-47A1-B2AD-14FD4A842E01}" dt="2020-01-30T08:11:06.931" v="221" actId="47"/>
        <pc:sldMkLst>
          <pc:docMk/>
          <pc:sldMk cId="471539456" sldId="588"/>
        </pc:sldMkLst>
      </pc:sldChg>
      <pc:sldChg chg="del">
        <pc:chgData name="Batuhan Yildiz" userId="90f344fc-4655-4923-aeaf-697bba59c1a7" providerId="ADAL" clId="{73D0611D-A011-47A1-B2AD-14FD4A842E01}" dt="2020-01-30T08:11:06.931" v="221" actId="47"/>
        <pc:sldMkLst>
          <pc:docMk/>
          <pc:sldMk cId="2646513380" sldId="589"/>
        </pc:sldMkLst>
      </pc:sldChg>
      <pc:sldChg chg="del">
        <pc:chgData name="Batuhan Yildiz" userId="90f344fc-4655-4923-aeaf-697bba59c1a7" providerId="ADAL" clId="{73D0611D-A011-47A1-B2AD-14FD4A842E01}" dt="2020-01-30T08:11:06.931" v="221" actId="47"/>
        <pc:sldMkLst>
          <pc:docMk/>
          <pc:sldMk cId="2880690618" sldId="590"/>
        </pc:sldMkLst>
      </pc:sldChg>
      <pc:sldChg chg="del">
        <pc:chgData name="Batuhan Yildiz" userId="90f344fc-4655-4923-aeaf-697bba59c1a7" providerId="ADAL" clId="{73D0611D-A011-47A1-B2AD-14FD4A842E01}" dt="2020-01-30T08:11:06.931" v="221" actId="47"/>
        <pc:sldMkLst>
          <pc:docMk/>
          <pc:sldMk cId="65979341" sldId="591"/>
        </pc:sldMkLst>
      </pc:sldChg>
      <pc:sldChg chg="del">
        <pc:chgData name="Batuhan Yildiz" userId="90f344fc-4655-4923-aeaf-697bba59c1a7" providerId="ADAL" clId="{73D0611D-A011-47A1-B2AD-14FD4A842E01}" dt="2020-01-30T08:11:06.931" v="221" actId="47"/>
        <pc:sldMkLst>
          <pc:docMk/>
          <pc:sldMk cId="1520463761" sldId="592"/>
        </pc:sldMkLst>
      </pc:sldChg>
      <pc:sldChg chg="del">
        <pc:chgData name="Batuhan Yildiz" userId="90f344fc-4655-4923-aeaf-697bba59c1a7" providerId="ADAL" clId="{73D0611D-A011-47A1-B2AD-14FD4A842E01}" dt="2020-01-30T08:11:06.931" v="221" actId="47"/>
        <pc:sldMkLst>
          <pc:docMk/>
          <pc:sldMk cId="418979536" sldId="593"/>
        </pc:sldMkLst>
      </pc:sldChg>
      <pc:sldChg chg="del">
        <pc:chgData name="Batuhan Yildiz" userId="90f344fc-4655-4923-aeaf-697bba59c1a7" providerId="ADAL" clId="{73D0611D-A011-47A1-B2AD-14FD4A842E01}" dt="2020-01-30T08:11:06.931" v="221" actId="47"/>
        <pc:sldMkLst>
          <pc:docMk/>
          <pc:sldMk cId="1309115212" sldId="594"/>
        </pc:sldMkLst>
      </pc:sldChg>
      <pc:sldChg chg="del">
        <pc:chgData name="Batuhan Yildiz" userId="90f344fc-4655-4923-aeaf-697bba59c1a7" providerId="ADAL" clId="{73D0611D-A011-47A1-B2AD-14FD4A842E01}" dt="2020-01-30T08:11:06.931" v="221" actId="47"/>
        <pc:sldMkLst>
          <pc:docMk/>
          <pc:sldMk cId="2185982150" sldId="595"/>
        </pc:sldMkLst>
      </pc:sldChg>
      <pc:sldChg chg="del">
        <pc:chgData name="Batuhan Yildiz" userId="90f344fc-4655-4923-aeaf-697bba59c1a7" providerId="ADAL" clId="{73D0611D-A011-47A1-B2AD-14FD4A842E01}" dt="2020-01-30T08:11:06.931" v="221" actId="47"/>
        <pc:sldMkLst>
          <pc:docMk/>
          <pc:sldMk cId="3232471753" sldId="596"/>
        </pc:sldMkLst>
      </pc:sldChg>
      <pc:sldChg chg="del">
        <pc:chgData name="Batuhan Yildiz" userId="90f344fc-4655-4923-aeaf-697bba59c1a7" providerId="ADAL" clId="{73D0611D-A011-47A1-B2AD-14FD4A842E01}" dt="2020-01-30T08:11:06.931" v="221" actId="47"/>
        <pc:sldMkLst>
          <pc:docMk/>
          <pc:sldMk cId="222379813" sldId="597"/>
        </pc:sldMkLst>
      </pc:sldChg>
      <pc:sldChg chg="del">
        <pc:chgData name="Batuhan Yildiz" userId="90f344fc-4655-4923-aeaf-697bba59c1a7" providerId="ADAL" clId="{73D0611D-A011-47A1-B2AD-14FD4A842E01}" dt="2020-01-30T08:11:06.931" v="221" actId="47"/>
        <pc:sldMkLst>
          <pc:docMk/>
          <pc:sldMk cId="4052405621" sldId="598"/>
        </pc:sldMkLst>
      </pc:sldChg>
      <pc:sldChg chg="del">
        <pc:chgData name="Batuhan Yildiz" userId="90f344fc-4655-4923-aeaf-697bba59c1a7" providerId="ADAL" clId="{73D0611D-A011-47A1-B2AD-14FD4A842E01}" dt="2020-01-30T08:11:06.931" v="221" actId="47"/>
        <pc:sldMkLst>
          <pc:docMk/>
          <pc:sldMk cId="3471004044" sldId="599"/>
        </pc:sldMkLst>
      </pc:sldChg>
      <pc:sldChg chg="del">
        <pc:chgData name="Batuhan Yildiz" userId="90f344fc-4655-4923-aeaf-697bba59c1a7" providerId="ADAL" clId="{73D0611D-A011-47A1-B2AD-14FD4A842E01}" dt="2020-01-30T08:11:06.931" v="221" actId="47"/>
        <pc:sldMkLst>
          <pc:docMk/>
          <pc:sldMk cId="4115121909" sldId="600"/>
        </pc:sldMkLst>
      </pc:sldChg>
      <pc:sldChg chg="del">
        <pc:chgData name="Batuhan Yildiz" userId="90f344fc-4655-4923-aeaf-697bba59c1a7" providerId="ADAL" clId="{73D0611D-A011-47A1-B2AD-14FD4A842E01}" dt="2020-01-30T08:11:06.931" v="221" actId="47"/>
        <pc:sldMkLst>
          <pc:docMk/>
          <pc:sldMk cId="3920792206" sldId="601"/>
        </pc:sldMkLst>
      </pc:sldChg>
      <pc:sldChg chg="del">
        <pc:chgData name="Batuhan Yildiz" userId="90f344fc-4655-4923-aeaf-697bba59c1a7" providerId="ADAL" clId="{73D0611D-A011-47A1-B2AD-14FD4A842E01}" dt="2020-01-30T08:11:06.931" v="221" actId="47"/>
        <pc:sldMkLst>
          <pc:docMk/>
          <pc:sldMk cId="354104108" sldId="602"/>
        </pc:sldMkLst>
      </pc:sldChg>
      <pc:sldChg chg="del">
        <pc:chgData name="Batuhan Yildiz" userId="90f344fc-4655-4923-aeaf-697bba59c1a7" providerId="ADAL" clId="{73D0611D-A011-47A1-B2AD-14FD4A842E01}" dt="2020-01-30T08:11:06.931" v="221" actId="47"/>
        <pc:sldMkLst>
          <pc:docMk/>
          <pc:sldMk cId="3518365308" sldId="603"/>
        </pc:sldMkLst>
      </pc:sldChg>
      <pc:sldChg chg="del">
        <pc:chgData name="Batuhan Yildiz" userId="90f344fc-4655-4923-aeaf-697bba59c1a7" providerId="ADAL" clId="{73D0611D-A011-47A1-B2AD-14FD4A842E01}" dt="2020-01-30T08:11:06.931" v="221" actId="47"/>
        <pc:sldMkLst>
          <pc:docMk/>
          <pc:sldMk cId="665790311" sldId="604"/>
        </pc:sldMkLst>
      </pc:sldChg>
      <pc:sldChg chg="del">
        <pc:chgData name="Batuhan Yildiz" userId="90f344fc-4655-4923-aeaf-697bba59c1a7" providerId="ADAL" clId="{73D0611D-A011-47A1-B2AD-14FD4A842E01}" dt="2020-01-30T08:11:06.931" v="221" actId="47"/>
        <pc:sldMkLst>
          <pc:docMk/>
          <pc:sldMk cId="806903252" sldId="605"/>
        </pc:sldMkLst>
      </pc:sldChg>
    </pc:docChg>
  </pc:docChgLst>
  <pc:docChgLst>
    <pc:chgData name="Susan Van Eyck" userId="S::svaneyck@microsoft.com::662afd01-5edf-4fbb-b0e2-2ead5b38d415" providerId="AD" clId="Web-{284274A2-90D6-996E-A67F-F0625AD2551A}"/>
    <pc:docChg chg="delSld modSld modSection">
      <pc:chgData name="Susan Van Eyck" userId="S::svaneyck@microsoft.com::662afd01-5edf-4fbb-b0e2-2ead5b38d415" providerId="AD" clId="Web-{284274A2-90D6-996E-A67F-F0625AD2551A}" dt="2020-03-09T02:26:42.198" v="11"/>
      <pc:docMkLst>
        <pc:docMk/>
      </pc:docMkLst>
      <pc:sldChg chg="modSp">
        <pc:chgData name="Susan Van Eyck" userId="S::svaneyck@microsoft.com::662afd01-5edf-4fbb-b0e2-2ead5b38d415" providerId="AD" clId="Web-{284274A2-90D6-996E-A67F-F0625AD2551A}" dt="2020-03-09T02:26:23.355" v="0" actId="20577"/>
        <pc:sldMkLst>
          <pc:docMk/>
          <pc:sldMk cId="2314306782" sldId="572"/>
        </pc:sldMkLst>
        <pc:spChg chg="mod">
          <ac:chgData name="Susan Van Eyck" userId="S::svaneyck@microsoft.com::662afd01-5edf-4fbb-b0e2-2ead5b38d415" providerId="AD" clId="Web-{284274A2-90D6-996E-A67F-F0625AD2551A}" dt="2020-03-09T02:26:23.355" v="0" actId="20577"/>
          <ac:spMkLst>
            <pc:docMk/>
            <pc:sldMk cId="2314306782" sldId="572"/>
            <ac:spMk id="5" creationId="{55182462-DFDF-4D48-A92C-42FD52821C4E}"/>
          </ac:spMkLst>
        </pc:spChg>
      </pc:sldChg>
      <pc:sldChg chg="del">
        <pc:chgData name="Susan Van Eyck" userId="S::svaneyck@microsoft.com::662afd01-5edf-4fbb-b0e2-2ead5b38d415" providerId="AD" clId="Web-{284274A2-90D6-996E-A67F-F0625AD2551A}" dt="2020-03-09T02:26:31.339" v="6"/>
        <pc:sldMkLst>
          <pc:docMk/>
          <pc:sldMk cId="4248838292" sldId="573"/>
        </pc:sldMkLst>
      </pc:sldChg>
      <pc:sldChg chg="del">
        <pc:chgData name="Susan Van Eyck" userId="S::svaneyck@microsoft.com::662afd01-5edf-4fbb-b0e2-2ead5b38d415" providerId="AD" clId="Web-{284274A2-90D6-996E-A67F-F0625AD2551A}" dt="2020-03-09T02:26:42.198" v="11"/>
        <pc:sldMkLst>
          <pc:docMk/>
          <pc:sldMk cId="1487953619" sldId="574"/>
        </pc:sldMkLst>
      </pc:sldChg>
      <pc:sldChg chg="del">
        <pc:chgData name="Susan Van Eyck" userId="S::svaneyck@microsoft.com::662afd01-5edf-4fbb-b0e2-2ead5b38d415" providerId="AD" clId="Web-{284274A2-90D6-996E-A67F-F0625AD2551A}" dt="2020-03-09T02:26:39.245" v="7"/>
        <pc:sldMkLst>
          <pc:docMk/>
          <pc:sldMk cId="856686348" sldId="580"/>
        </pc:sldMkLst>
      </pc:sldChg>
      <pc:sldChg chg="del">
        <pc:chgData name="Susan Van Eyck" userId="S::svaneyck@microsoft.com::662afd01-5edf-4fbb-b0e2-2ead5b38d415" providerId="AD" clId="Web-{284274A2-90D6-996E-A67F-F0625AD2551A}" dt="2020-03-09T02:26:31.339" v="5"/>
        <pc:sldMkLst>
          <pc:docMk/>
          <pc:sldMk cId="3883125279" sldId="588"/>
        </pc:sldMkLst>
      </pc:sldChg>
      <pc:sldChg chg="del">
        <pc:chgData name="Susan Van Eyck" userId="S::svaneyck@microsoft.com::662afd01-5edf-4fbb-b0e2-2ead5b38d415" providerId="AD" clId="Web-{284274A2-90D6-996E-A67F-F0625AD2551A}" dt="2020-03-09T02:26:39.245" v="10"/>
        <pc:sldMkLst>
          <pc:docMk/>
          <pc:sldMk cId="1144144753" sldId="589"/>
        </pc:sldMkLst>
      </pc:sldChg>
      <pc:sldChg chg="del">
        <pc:chgData name="Susan Van Eyck" userId="S::svaneyck@microsoft.com::662afd01-5edf-4fbb-b0e2-2ead5b38d415" providerId="AD" clId="Web-{284274A2-90D6-996E-A67F-F0625AD2551A}" dt="2020-03-09T02:26:39.245" v="9"/>
        <pc:sldMkLst>
          <pc:docMk/>
          <pc:sldMk cId="2259382034" sldId="590"/>
        </pc:sldMkLst>
      </pc:sldChg>
      <pc:sldChg chg="del">
        <pc:chgData name="Susan Van Eyck" userId="S::svaneyck@microsoft.com::662afd01-5edf-4fbb-b0e2-2ead5b38d415" providerId="AD" clId="Web-{284274A2-90D6-996E-A67F-F0625AD2551A}" dt="2020-03-09T02:26:39.245" v="8"/>
        <pc:sldMkLst>
          <pc:docMk/>
          <pc:sldMk cId="3076473486" sldId="591"/>
        </pc:sldMkLst>
      </pc:sldChg>
      <pc:sldChg chg="del">
        <pc:chgData name="Susan Van Eyck" userId="S::svaneyck@microsoft.com::662afd01-5edf-4fbb-b0e2-2ead5b38d415" providerId="AD" clId="Web-{284274A2-90D6-996E-A67F-F0625AD2551A}" dt="2020-03-09T02:26:27.464" v="4"/>
        <pc:sldMkLst>
          <pc:docMk/>
          <pc:sldMk cId="3940105556" sldId="622"/>
        </pc:sldMkLst>
      </pc:sldChg>
      <pc:sldChg chg="del">
        <pc:chgData name="Susan Van Eyck" userId="S::svaneyck@microsoft.com::662afd01-5edf-4fbb-b0e2-2ead5b38d415" providerId="AD" clId="Web-{284274A2-90D6-996E-A67F-F0625AD2551A}" dt="2020-03-09T02:26:27.448" v="3"/>
        <pc:sldMkLst>
          <pc:docMk/>
          <pc:sldMk cId="2823407042" sldId="623"/>
        </pc:sldMkLst>
      </pc:sldChg>
    </pc:docChg>
  </pc:docChgLst>
  <pc:docChgLst>
    <pc:chgData name="Susan Van Eyck" userId="662afd01-5edf-4fbb-b0e2-2ead5b38d415" providerId="ADAL" clId="{DDD55DA9-AA83-458D-8DEA-61425C32F6C1}"/>
    <pc:docChg chg="undo custSel addSld delSld modSld sldOrd modSection">
      <pc:chgData name="Susan Van Eyck" userId="662afd01-5edf-4fbb-b0e2-2ead5b38d415" providerId="ADAL" clId="{DDD55DA9-AA83-458D-8DEA-61425C32F6C1}" dt="2020-03-10T18:12:23.845" v="8435" actId="20577"/>
      <pc:docMkLst>
        <pc:docMk/>
      </pc:docMkLst>
      <pc:sldChg chg="del mod modShow">
        <pc:chgData name="Susan Van Eyck" userId="662afd01-5edf-4fbb-b0e2-2ead5b38d415" providerId="ADAL" clId="{DDD55DA9-AA83-458D-8DEA-61425C32F6C1}" dt="2020-03-10T14:10:47.662" v="7503" actId="47"/>
        <pc:sldMkLst>
          <pc:docMk/>
          <pc:sldMk cId="3235270007" sldId="257"/>
        </pc:sldMkLst>
      </pc:sldChg>
      <pc:sldChg chg="modSp mod">
        <pc:chgData name="Susan Van Eyck" userId="662afd01-5edf-4fbb-b0e2-2ead5b38d415" providerId="ADAL" clId="{DDD55DA9-AA83-458D-8DEA-61425C32F6C1}" dt="2020-03-09T20:27:23.615" v="4348" actId="20577"/>
        <pc:sldMkLst>
          <pc:docMk/>
          <pc:sldMk cId="4267675391" sldId="531"/>
        </pc:sldMkLst>
        <pc:spChg chg="mod">
          <ac:chgData name="Susan Van Eyck" userId="662afd01-5edf-4fbb-b0e2-2ead5b38d415" providerId="ADAL" clId="{DDD55DA9-AA83-458D-8DEA-61425C32F6C1}" dt="2020-03-09T20:27:23.615" v="4348" actId="20577"/>
          <ac:spMkLst>
            <pc:docMk/>
            <pc:sldMk cId="4267675391" sldId="531"/>
            <ac:spMk id="6" creationId="{637E159C-9ACF-48AE-927A-D5FB13695C7F}"/>
          </ac:spMkLst>
        </pc:spChg>
      </pc:sldChg>
      <pc:sldChg chg="modSp modNotesTx">
        <pc:chgData name="Susan Van Eyck" userId="662afd01-5edf-4fbb-b0e2-2ead5b38d415" providerId="ADAL" clId="{DDD55DA9-AA83-458D-8DEA-61425C32F6C1}" dt="2020-03-10T14:58:56.437" v="7992" actId="114"/>
        <pc:sldMkLst>
          <pc:docMk/>
          <pc:sldMk cId="3735096506" sldId="563"/>
        </pc:sldMkLst>
        <pc:graphicFrameChg chg="mod">
          <ac:chgData name="Susan Van Eyck" userId="662afd01-5edf-4fbb-b0e2-2ead5b38d415" providerId="ADAL" clId="{DDD55DA9-AA83-458D-8DEA-61425C32F6C1}" dt="2020-03-10T14:58:56.437" v="7992" actId="114"/>
          <ac:graphicFrameMkLst>
            <pc:docMk/>
            <pc:sldMk cId="3735096506" sldId="563"/>
            <ac:graphicFrameMk id="3" creationId="{9484E1FE-7534-495E-863C-657A46F5E628}"/>
          </ac:graphicFrameMkLst>
        </pc:graphicFrameChg>
      </pc:sldChg>
      <pc:sldChg chg="modSp modNotesTx">
        <pc:chgData name="Susan Van Eyck" userId="662afd01-5edf-4fbb-b0e2-2ead5b38d415" providerId="ADAL" clId="{DDD55DA9-AA83-458D-8DEA-61425C32F6C1}" dt="2020-03-10T18:12:23.845" v="8435" actId="20577"/>
        <pc:sldMkLst>
          <pc:docMk/>
          <pc:sldMk cId="670385602" sldId="567"/>
        </pc:sldMkLst>
        <pc:spChg chg="mod">
          <ac:chgData name="Susan Van Eyck" userId="662afd01-5edf-4fbb-b0e2-2ead5b38d415" providerId="ADAL" clId="{DDD55DA9-AA83-458D-8DEA-61425C32F6C1}" dt="2020-03-10T18:08:48.621" v="8389"/>
          <ac:spMkLst>
            <pc:docMk/>
            <pc:sldMk cId="670385602" sldId="567"/>
            <ac:spMk id="6" creationId="{637E159C-9ACF-48AE-927A-D5FB13695C7F}"/>
          </ac:spMkLst>
        </pc:spChg>
      </pc:sldChg>
      <pc:sldChg chg="modNotesTx">
        <pc:chgData name="Susan Van Eyck" userId="662afd01-5edf-4fbb-b0e2-2ead5b38d415" providerId="ADAL" clId="{DDD55DA9-AA83-458D-8DEA-61425C32F6C1}" dt="2020-03-10T15:23:57.654" v="8297" actId="15"/>
        <pc:sldMkLst>
          <pc:docMk/>
          <pc:sldMk cId="2346840044" sldId="570"/>
        </pc:sldMkLst>
      </pc:sldChg>
      <pc:sldChg chg="modSp mod">
        <pc:chgData name="Susan Van Eyck" userId="662afd01-5edf-4fbb-b0e2-2ead5b38d415" providerId="ADAL" clId="{DDD55DA9-AA83-458D-8DEA-61425C32F6C1}" dt="2020-03-10T15:28:14.983" v="8308" actId="20577"/>
        <pc:sldMkLst>
          <pc:docMk/>
          <pc:sldMk cId="2314306782" sldId="572"/>
        </pc:sldMkLst>
        <pc:spChg chg="mod">
          <ac:chgData name="Susan Van Eyck" userId="662afd01-5edf-4fbb-b0e2-2ead5b38d415" providerId="ADAL" clId="{DDD55DA9-AA83-458D-8DEA-61425C32F6C1}" dt="2020-03-10T15:28:14.983" v="8308" actId="20577"/>
          <ac:spMkLst>
            <pc:docMk/>
            <pc:sldMk cId="2314306782" sldId="572"/>
            <ac:spMk id="5" creationId="{55182462-DFDF-4D48-A92C-42FD52821C4E}"/>
          </ac:spMkLst>
        </pc:spChg>
      </pc:sldChg>
      <pc:sldChg chg="del">
        <pc:chgData name="Susan Van Eyck" userId="662afd01-5edf-4fbb-b0e2-2ead5b38d415" providerId="ADAL" clId="{DDD55DA9-AA83-458D-8DEA-61425C32F6C1}" dt="2020-03-09T02:31:02.303" v="1" actId="47"/>
        <pc:sldMkLst>
          <pc:docMk/>
          <pc:sldMk cId="3563492871" sldId="575"/>
        </pc:sldMkLst>
      </pc:sldChg>
      <pc:sldChg chg="modSp modNotesTx">
        <pc:chgData name="Susan Van Eyck" userId="662afd01-5edf-4fbb-b0e2-2ead5b38d415" providerId="ADAL" clId="{DDD55DA9-AA83-458D-8DEA-61425C32F6C1}" dt="2020-03-10T15:36:03.905" v="8387" actId="20577"/>
        <pc:sldMkLst>
          <pc:docMk/>
          <pc:sldMk cId="4206133277" sldId="577"/>
        </pc:sldMkLst>
        <pc:graphicFrameChg chg="mod">
          <ac:chgData name="Susan Van Eyck" userId="662afd01-5edf-4fbb-b0e2-2ead5b38d415" providerId="ADAL" clId="{DDD55DA9-AA83-458D-8DEA-61425C32F6C1}" dt="2020-03-10T15:36:03.905" v="8387" actId="20577"/>
          <ac:graphicFrameMkLst>
            <pc:docMk/>
            <pc:sldMk cId="4206133277" sldId="577"/>
            <ac:graphicFrameMk id="3" creationId="{9484E1FE-7534-495E-863C-657A46F5E628}"/>
          </ac:graphicFrameMkLst>
        </pc:graphicFrameChg>
      </pc:sldChg>
      <pc:sldChg chg="modSp">
        <pc:chgData name="Susan Van Eyck" userId="662afd01-5edf-4fbb-b0e2-2ead5b38d415" providerId="ADAL" clId="{DDD55DA9-AA83-458D-8DEA-61425C32F6C1}" dt="2020-03-10T14:10:09.162" v="7502" actId="20577"/>
        <pc:sldMkLst>
          <pc:docMk/>
          <pc:sldMk cId="1516663082" sldId="581"/>
        </pc:sldMkLst>
        <pc:graphicFrameChg chg="mod">
          <ac:chgData name="Susan Van Eyck" userId="662afd01-5edf-4fbb-b0e2-2ead5b38d415" providerId="ADAL" clId="{DDD55DA9-AA83-458D-8DEA-61425C32F6C1}" dt="2020-03-10T14:10:09.162" v="7502" actId="20577"/>
          <ac:graphicFrameMkLst>
            <pc:docMk/>
            <pc:sldMk cId="1516663082" sldId="581"/>
            <ac:graphicFrameMk id="5" creationId="{DBCA296B-3874-45F7-AB56-F74E5DE12643}"/>
          </ac:graphicFrameMkLst>
        </pc:graphicFrameChg>
      </pc:sldChg>
      <pc:sldChg chg="modSp">
        <pc:chgData name="Susan Van Eyck" userId="662afd01-5edf-4fbb-b0e2-2ead5b38d415" providerId="ADAL" clId="{DDD55DA9-AA83-458D-8DEA-61425C32F6C1}" dt="2020-03-10T14:53:54.097" v="7948" actId="20577"/>
        <pc:sldMkLst>
          <pc:docMk/>
          <pc:sldMk cId="3877797472" sldId="582"/>
        </pc:sldMkLst>
        <pc:graphicFrameChg chg="mod">
          <ac:chgData name="Susan Van Eyck" userId="662afd01-5edf-4fbb-b0e2-2ead5b38d415" providerId="ADAL" clId="{DDD55DA9-AA83-458D-8DEA-61425C32F6C1}" dt="2020-03-10T14:53:54.097" v="7948" actId="20577"/>
          <ac:graphicFrameMkLst>
            <pc:docMk/>
            <pc:sldMk cId="3877797472" sldId="582"/>
            <ac:graphicFrameMk id="6" creationId="{2217EB35-CC23-4C14-A610-AB5118F33063}"/>
          </ac:graphicFrameMkLst>
        </pc:graphicFrameChg>
      </pc:sldChg>
      <pc:sldChg chg="modSp">
        <pc:chgData name="Susan Van Eyck" userId="662afd01-5edf-4fbb-b0e2-2ead5b38d415" providerId="ADAL" clId="{DDD55DA9-AA83-458D-8DEA-61425C32F6C1}" dt="2020-03-10T14:57:21.831" v="7990" actId="20577"/>
        <pc:sldMkLst>
          <pc:docMk/>
          <pc:sldMk cId="524507872" sldId="583"/>
        </pc:sldMkLst>
        <pc:graphicFrameChg chg="mod">
          <ac:chgData name="Susan Van Eyck" userId="662afd01-5edf-4fbb-b0e2-2ead5b38d415" providerId="ADAL" clId="{DDD55DA9-AA83-458D-8DEA-61425C32F6C1}" dt="2020-03-10T14:57:21.831" v="7990" actId="20577"/>
          <ac:graphicFrameMkLst>
            <pc:docMk/>
            <pc:sldMk cId="524507872" sldId="583"/>
            <ac:graphicFrameMk id="5" creationId="{44B17301-66B9-46C5-B710-C2BFBFF70B60}"/>
          </ac:graphicFrameMkLst>
        </pc:graphicFrameChg>
      </pc:sldChg>
      <pc:sldChg chg="modSp modNotesTx">
        <pc:chgData name="Susan Van Eyck" userId="662afd01-5edf-4fbb-b0e2-2ead5b38d415" providerId="ADAL" clId="{DDD55DA9-AA83-458D-8DEA-61425C32F6C1}" dt="2020-03-10T15:09:30.634" v="8174" actId="20577"/>
        <pc:sldMkLst>
          <pc:docMk/>
          <pc:sldMk cId="2064303006" sldId="592"/>
        </pc:sldMkLst>
        <pc:graphicFrameChg chg="mod">
          <ac:chgData name="Susan Van Eyck" userId="662afd01-5edf-4fbb-b0e2-2ead5b38d415" providerId="ADAL" clId="{DDD55DA9-AA83-458D-8DEA-61425C32F6C1}" dt="2020-03-10T15:06:22.986" v="8116" actId="114"/>
          <ac:graphicFrameMkLst>
            <pc:docMk/>
            <pc:sldMk cId="2064303006" sldId="592"/>
            <ac:graphicFrameMk id="6" creationId="{40F1CCF2-70F1-42A8-8D40-9CE7C0C535D0}"/>
          </ac:graphicFrameMkLst>
        </pc:graphicFrameChg>
      </pc:sldChg>
      <pc:sldChg chg="modSp">
        <pc:chgData name="Susan Van Eyck" userId="662afd01-5edf-4fbb-b0e2-2ead5b38d415" providerId="ADAL" clId="{DDD55DA9-AA83-458D-8DEA-61425C32F6C1}" dt="2020-03-10T15:17:43.551" v="8183"/>
        <pc:sldMkLst>
          <pc:docMk/>
          <pc:sldMk cId="2755635819" sldId="601"/>
        </pc:sldMkLst>
        <pc:graphicFrameChg chg="mod">
          <ac:chgData name="Susan Van Eyck" userId="662afd01-5edf-4fbb-b0e2-2ead5b38d415" providerId="ADAL" clId="{DDD55DA9-AA83-458D-8DEA-61425C32F6C1}" dt="2020-03-10T15:17:43.551" v="8183"/>
          <ac:graphicFrameMkLst>
            <pc:docMk/>
            <pc:sldMk cId="2755635819" sldId="601"/>
            <ac:graphicFrameMk id="3" creationId="{B1177D7A-652A-43DC-9ADD-4C1FD68BD163}"/>
          </ac:graphicFrameMkLst>
        </pc:graphicFrameChg>
      </pc:sldChg>
      <pc:sldChg chg="modSp mod">
        <pc:chgData name="Susan Van Eyck" userId="662afd01-5edf-4fbb-b0e2-2ead5b38d415" providerId="ADAL" clId="{DDD55DA9-AA83-458D-8DEA-61425C32F6C1}" dt="2020-03-10T15:10:47.466" v="8175" actId="208"/>
        <pc:sldMkLst>
          <pc:docMk/>
          <pc:sldMk cId="2751078201" sldId="603"/>
        </pc:sldMkLst>
        <pc:picChg chg="mod">
          <ac:chgData name="Susan Van Eyck" userId="662afd01-5edf-4fbb-b0e2-2ead5b38d415" providerId="ADAL" clId="{DDD55DA9-AA83-458D-8DEA-61425C32F6C1}" dt="2020-03-10T15:10:47.466" v="8175" actId="208"/>
          <ac:picMkLst>
            <pc:docMk/>
            <pc:sldMk cId="2751078201" sldId="603"/>
            <ac:picMk id="5" creationId="{D382AE15-EDBB-4EFF-B77B-A98BB57DDDC0}"/>
          </ac:picMkLst>
        </pc:picChg>
      </pc:sldChg>
      <pc:sldChg chg="addSp modSp mod">
        <pc:chgData name="Susan Van Eyck" userId="662afd01-5edf-4fbb-b0e2-2ead5b38d415" providerId="ADAL" clId="{DDD55DA9-AA83-458D-8DEA-61425C32F6C1}" dt="2020-03-10T15:21:33.085" v="8235"/>
        <pc:sldMkLst>
          <pc:docMk/>
          <pc:sldMk cId="2091928155" sldId="604"/>
        </pc:sldMkLst>
        <pc:spChg chg="add mod">
          <ac:chgData name="Susan Van Eyck" userId="662afd01-5edf-4fbb-b0e2-2ead5b38d415" providerId="ADAL" clId="{DDD55DA9-AA83-458D-8DEA-61425C32F6C1}" dt="2020-03-09T20:32:05.496" v="4429" actId="20577"/>
          <ac:spMkLst>
            <pc:docMk/>
            <pc:sldMk cId="2091928155" sldId="604"/>
            <ac:spMk id="3" creationId="{B2E115E0-78C1-4D43-86B4-A3A090803B26}"/>
          </ac:spMkLst>
        </pc:spChg>
        <pc:graphicFrameChg chg="mod">
          <ac:chgData name="Susan Van Eyck" userId="662afd01-5edf-4fbb-b0e2-2ead5b38d415" providerId="ADAL" clId="{DDD55DA9-AA83-458D-8DEA-61425C32F6C1}" dt="2020-03-10T15:21:33.085" v="8235"/>
          <ac:graphicFrameMkLst>
            <pc:docMk/>
            <pc:sldMk cId="2091928155" sldId="604"/>
            <ac:graphicFrameMk id="4" creationId="{B9667AFB-F08F-4E54-9639-D1DD822E1E1F}"/>
          </ac:graphicFrameMkLst>
        </pc:graphicFrameChg>
        <pc:graphicFrameChg chg="mod">
          <ac:chgData name="Susan Van Eyck" userId="662afd01-5edf-4fbb-b0e2-2ead5b38d415" providerId="ADAL" clId="{DDD55DA9-AA83-458D-8DEA-61425C32F6C1}" dt="2020-03-09T20:31:58.644" v="4428" actId="1038"/>
          <ac:graphicFrameMkLst>
            <pc:docMk/>
            <pc:sldMk cId="2091928155" sldId="604"/>
            <ac:graphicFrameMk id="6" creationId="{D49B7658-306B-4069-8A43-2BD71F5B55AE}"/>
          </ac:graphicFrameMkLst>
        </pc:graphicFrameChg>
      </pc:sldChg>
      <pc:sldChg chg="modSp mod modShow">
        <pc:chgData name="Susan Van Eyck" userId="662afd01-5edf-4fbb-b0e2-2ead5b38d415" providerId="ADAL" clId="{DDD55DA9-AA83-458D-8DEA-61425C32F6C1}" dt="2020-03-10T14:45:36.070" v="7736" actId="729"/>
        <pc:sldMkLst>
          <pc:docMk/>
          <pc:sldMk cId="4157009367" sldId="613"/>
        </pc:sldMkLst>
        <pc:graphicFrameChg chg="mod">
          <ac:chgData name="Susan Van Eyck" userId="662afd01-5edf-4fbb-b0e2-2ead5b38d415" providerId="ADAL" clId="{DDD55DA9-AA83-458D-8DEA-61425C32F6C1}" dt="2020-03-10T14:43:37.779" v="7735" actId="20577"/>
          <ac:graphicFrameMkLst>
            <pc:docMk/>
            <pc:sldMk cId="4157009367" sldId="613"/>
            <ac:graphicFrameMk id="6" creationId="{051A79A1-377C-4C7A-B151-25C9B3668E35}"/>
          </ac:graphicFrameMkLst>
        </pc:graphicFrameChg>
      </pc:sldChg>
      <pc:sldChg chg="addSp delSp modSp mod addAnim delAnim modAnim">
        <pc:chgData name="Susan Van Eyck" userId="662afd01-5edf-4fbb-b0e2-2ead5b38d415" providerId="ADAL" clId="{DDD55DA9-AA83-458D-8DEA-61425C32F6C1}" dt="2020-03-10T14:38:56.333" v="7709" actId="1076"/>
        <pc:sldMkLst>
          <pc:docMk/>
          <pc:sldMk cId="3612679356" sldId="614"/>
        </pc:sldMkLst>
        <pc:spChg chg="mod">
          <ac:chgData name="Susan Van Eyck" userId="662afd01-5edf-4fbb-b0e2-2ead5b38d415" providerId="ADAL" clId="{DDD55DA9-AA83-458D-8DEA-61425C32F6C1}" dt="2020-03-10T14:38:12.276" v="7705" actId="1076"/>
          <ac:spMkLst>
            <pc:docMk/>
            <pc:sldMk cId="3612679356" sldId="614"/>
            <ac:spMk id="5" creationId="{81092128-01F3-42D3-93C4-DCA71C6446E4}"/>
          </ac:spMkLst>
        </pc:spChg>
        <pc:spChg chg="add mod">
          <ac:chgData name="Susan Van Eyck" userId="662afd01-5edf-4fbb-b0e2-2ead5b38d415" providerId="ADAL" clId="{DDD55DA9-AA83-458D-8DEA-61425C32F6C1}" dt="2020-03-10T14:38:56.333" v="7709" actId="1076"/>
          <ac:spMkLst>
            <pc:docMk/>
            <pc:sldMk cId="3612679356" sldId="614"/>
            <ac:spMk id="8" creationId="{B0E341EA-D4E6-4053-8323-3834AD9A6B5E}"/>
          </ac:spMkLst>
        </pc:spChg>
        <pc:graphicFrameChg chg="mod">
          <ac:chgData name="Susan Van Eyck" userId="662afd01-5edf-4fbb-b0e2-2ead5b38d415" providerId="ADAL" clId="{DDD55DA9-AA83-458D-8DEA-61425C32F6C1}" dt="2020-03-10T14:33:46.566" v="7666" actId="20577"/>
          <ac:graphicFrameMkLst>
            <pc:docMk/>
            <pc:sldMk cId="3612679356" sldId="614"/>
            <ac:graphicFrameMk id="6" creationId="{59048E88-1954-41B7-8B8B-D2ABDC6142D2}"/>
          </ac:graphicFrameMkLst>
        </pc:graphicFrameChg>
        <pc:picChg chg="mod">
          <ac:chgData name="Susan Van Eyck" userId="662afd01-5edf-4fbb-b0e2-2ead5b38d415" providerId="ADAL" clId="{DDD55DA9-AA83-458D-8DEA-61425C32F6C1}" dt="2020-03-10T14:38:44.858" v="7708" actId="1076"/>
          <ac:picMkLst>
            <pc:docMk/>
            <pc:sldMk cId="3612679356" sldId="614"/>
            <ac:picMk id="4" creationId="{5A443D6D-629C-44F9-B99E-C243CEF49901}"/>
          </ac:picMkLst>
        </pc:picChg>
        <pc:picChg chg="add del">
          <ac:chgData name="Susan Van Eyck" userId="662afd01-5edf-4fbb-b0e2-2ead5b38d415" providerId="ADAL" clId="{DDD55DA9-AA83-458D-8DEA-61425C32F6C1}" dt="2020-03-09T20:19:14.544" v="4328" actId="478"/>
          <ac:picMkLst>
            <pc:docMk/>
            <pc:sldMk cId="3612679356" sldId="614"/>
            <ac:picMk id="7" creationId="{DAE6F2DD-A3F1-4D27-8329-6AA3129F306A}"/>
          </ac:picMkLst>
        </pc:picChg>
      </pc:sldChg>
      <pc:sldChg chg="addSp modSp mod modAnim">
        <pc:chgData name="Susan Van Eyck" userId="662afd01-5edf-4fbb-b0e2-2ead5b38d415" providerId="ADAL" clId="{DDD55DA9-AA83-458D-8DEA-61425C32F6C1}" dt="2020-03-10T14:30:13.764" v="7655" actId="14861"/>
        <pc:sldMkLst>
          <pc:docMk/>
          <pc:sldMk cId="3875725168" sldId="615"/>
        </pc:sldMkLst>
        <pc:spChg chg="mod">
          <ac:chgData name="Susan Van Eyck" userId="662afd01-5edf-4fbb-b0e2-2ead5b38d415" providerId="ADAL" clId="{DDD55DA9-AA83-458D-8DEA-61425C32F6C1}" dt="2020-03-09T20:14:11.836" v="4307" actId="1076"/>
          <ac:spMkLst>
            <pc:docMk/>
            <pc:sldMk cId="3875725168" sldId="615"/>
            <ac:spMk id="2" creationId="{17A8A069-1E02-4EF1-915C-021D16EEB7E0}"/>
          </ac:spMkLst>
        </pc:spChg>
        <pc:spChg chg="add mod ord">
          <ac:chgData name="Susan Van Eyck" userId="662afd01-5edf-4fbb-b0e2-2ead5b38d415" providerId="ADAL" clId="{DDD55DA9-AA83-458D-8DEA-61425C32F6C1}" dt="2020-03-10T14:27:36.577" v="7651" actId="167"/>
          <ac:spMkLst>
            <pc:docMk/>
            <pc:sldMk cId="3875725168" sldId="615"/>
            <ac:spMk id="5" creationId="{F31D056E-9049-4CA3-BF1F-DC2B7508DAAB}"/>
          </ac:spMkLst>
        </pc:spChg>
        <pc:spChg chg="mod">
          <ac:chgData name="Susan Van Eyck" userId="662afd01-5edf-4fbb-b0e2-2ead5b38d415" providerId="ADAL" clId="{DDD55DA9-AA83-458D-8DEA-61425C32F6C1}" dt="2020-03-09T20:12:33.454" v="4270" actId="20577"/>
          <ac:spMkLst>
            <pc:docMk/>
            <pc:sldMk cId="3875725168" sldId="615"/>
            <ac:spMk id="7" creationId="{3347287B-EEB8-4B84-ADF1-D7050BAA2A15}"/>
          </ac:spMkLst>
        </pc:spChg>
        <pc:spChg chg="mod">
          <ac:chgData name="Susan Van Eyck" userId="662afd01-5edf-4fbb-b0e2-2ead5b38d415" providerId="ADAL" clId="{DDD55DA9-AA83-458D-8DEA-61425C32F6C1}" dt="2020-03-10T14:26:10.076" v="7640" actId="14100"/>
          <ac:spMkLst>
            <pc:docMk/>
            <pc:sldMk cId="3875725168" sldId="615"/>
            <ac:spMk id="8" creationId="{A2223810-929A-4CD1-8B83-E2A2F3B9C73C}"/>
          </ac:spMkLst>
        </pc:spChg>
        <pc:picChg chg="mod">
          <ac:chgData name="Susan Van Eyck" userId="662afd01-5edf-4fbb-b0e2-2ead5b38d415" providerId="ADAL" clId="{DDD55DA9-AA83-458D-8DEA-61425C32F6C1}" dt="2020-03-10T14:30:13.764" v="7655" actId="14861"/>
          <ac:picMkLst>
            <pc:docMk/>
            <pc:sldMk cId="3875725168" sldId="615"/>
            <ac:picMk id="4" creationId="{6F3C3E11-95F5-45C5-B490-A924262C6B18}"/>
          </ac:picMkLst>
        </pc:picChg>
      </pc:sldChg>
      <pc:sldChg chg="modSp mod">
        <pc:chgData name="Susan Van Eyck" userId="662afd01-5edf-4fbb-b0e2-2ead5b38d415" providerId="ADAL" clId="{DDD55DA9-AA83-458D-8DEA-61425C32F6C1}" dt="2020-03-09T20:15:37.936" v="4313" actId="14100"/>
        <pc:sldMkLst>
          <pc:docMk/>
          <pc:sldMk cId="1909332055" sldId="616"/>
        </pc:sldMkLst>
        <pc:spChg chg="mod">
          <ac:chgData name="Susan Van Eyck" userId="662afd01-5edf-4fbb-b0e2-2ead5b38d415" providerId="ADAL" clId="{DDD55DA9-AA83-458D-8DEA-61425C32F6C1}" dt="2020-03-09T20:15:37.936" v="4313" actId="14100"/>
          <ac:spMkLst>
            <pc:docMk/>
            <pc:sldMk cId="1909332055" sldId="616"/>
            <ac:spMk id="5" creationId="{64CA118F-FB91-4076-9244-5FA42F93238F}"/>
          </ac:spMkLst>
        </pc:spChg>
      </pc:sldChg>
      <pc:sldChg chg="modSp mod">
        <pc:chgData name="Susan Van Eyck" userId="662afd01-5edf-4fbb-b0e2-2ead5b38d415" providerId="ADAL" clId="{DDD55DA9-AA83-458D-8DEA-61425C32F6C1}" dt="2020-03-10T14:15:53.741" v="7529" actId="1076"/>
        <pc:sldMkLst>
          <pc:docMk/>
          <pc:sldMk cId="2531563089" sldId="620"/>
        </pc:sldMkLst>
        <pc:spChg chg="mod">
          <ac:chgData name="Susan Van Eyck" userId="662afd01-5edf-4fbb-b0e2-2ead5b38d415" providerId="ADAL" clId="{DDD55DA9-AA83-458D-8DEA-61425C32F6C1}" dt="2020-03-10T14:15:53.741" v="7529" actId="1076"/>
          <ac:spMkLst>
            <pc:docMk/>
            <pc:sldMk cId="2531563089" sldId="620"/>
            <ac:spMk id="3" creationId="{3A8BC14F-2D98-4C89-B913-E0613170CAB5}"/>
          </ac:spMkLst>
        </pc:spChg>
      </pc:sldChg>
      <pc:sldChg chg="addSp delSp modSp mod modAnim">
        <pc:chgData name="Susan Van Eyck" userId="662afd01-5edf-4fbb-b0e2-2ead5b38d415" providerId="ADAL" clId="{DDD55DA9-AA83-458D-8DEA-61425C32F6C1}" dt="2020-03-10T15:34:22.158" v="8359" actId="164"/>
        <pc:sldMkLst>
          <pc:docMk/>
          <pc:sldMk cId="3456630159" sldId="624"/>
        </pc:sldMkLst>
        <pc:spChg chg="mod">
          <ac:chgData name="Susan Van Eyck" userId="662afd01-5edf-4fbb-b0e2-2ead5b38d415" providerId="ADAL" clId="{DDD55DA9-AA83-458D-8DEA-61425C32F6C1}" dt="2020-03-10T14:03:46.378" v="7334" actId="20577"/>
          <ac:spMkLst>
            <pc:docMk/>
            <pc:sldMk cId="3456630159" sldId="624"/>
            <ac:spMk id="2" creationId="{EB67312A-9819-43C6-8D84-D9136E6CFFCC}"/>
          </ac:spMkLst>
        </pc:spChg>
        <pc:spChg chg="mod topLvl">
          <ac:chgData name="Susan Van Eyck" userId="662afd01-5edf-4fbb-b0e2-2ead5b38d415" providerId="ADAL" clId="{DDD55DA9-AA83-458D-8DEA-61425C32F6C1}" dt="2020-03-10T15:34:22.158" v="8359" actId="164"/>
          <ac:spMkLst>
            <pc:docMk/>
            <pc:sldMk cId="3456630159" sldId="624"/>
            <ac:spMk id="5" creationId="{063D22EF-0FAC-4F52-A8E7-D87FFACBB6CA}"/>
          </ac:spMkLst>
        </pc:spChg>
        <pc:spChg chg="mod topLvl">
          <ac:chgData name="Susan Van Eyck" userId="662afd01-5edf-4fbb-b0e2-2ead5b38d415" providerId="ADAL" clId="{DDD55DA9-AA83-458D-8DEA-61425C32F6C1}" dt="2020-03-10T15:34:22.158" v="8359" actId="164"/>
          <ac:spMkLst>
            <pc:docMk/>
            <pc:sldMk cId="3456630159" sldId="624"/>
            <ac:spMk id="6" creationId="{3C1D6757-30EC-4197-A1CE-255282DA03FB}"/>
          </ac:spMkLst>
        </pc:spChg>
        <pc:spChg chg="mod topLvl">
          <ac:chgData name="Susan Van Eyck" userId="662afd01-5edf-4fbb-b0e2-2ead5b38d415" providerId="ADAL" clId="{DDD55DA9-AA83-458D-8DEA-61425C32F6C1}" dt="2020-03-10T15:34:22.158" v="8359" actId="164"/>
          <ac:spMkLst>
            <pc:docMk/>
            <pc:sldMk cId="3456630159" sldId="624"/>
            <ac:spMk id="7" creationId="{AE398C95-BFB1-4B02-A6EC-7F8644204ABA}"/>
          </ac:spMkLst>
        </pc:spChg>
        <pc:spChg chg="mod topLvl">
          <ac:chgData name="Susan Van Eyck" userId="662afd01-5edf-4fbb-b0e2-2ead5b38d415" providerId="ADAL" clId="{DDD55DA9-AA83-458D-8DEA-61425C32F6C1}" dt="2020-03-10T15:34:22.158" v="8359" actId="164"/>
          <ac:spMkLst>
            <pc:docMk/>
            <pc:sldMk cId="3456630159" sldId="624"/>
            <ac:spMk id="8" creationId="{2042FE55-1A0C-467D-B410-9145965805E5}"/>
          </ac:spMkLst>
        </pc:spChg>
        <pc:spChg chg="mod topLvl">
          <ac:chgData name="Susan Van Eyck" userId="662afd01-5edf-4fbb-b0e2-2ead5b38d415" providerId="ADAL" clId="{DDD55DA9-AA83-458D-8DEA-61425C32F6C1}" dt="2020-03-10T15:34:22.158" v="8359" actId="164"/>
          <ac:spMkLst>
            <pc:docMk/>
            <pc:sldMk cId="3456630159" sldId="624"/>
            <ac:spMk id="9" creationId="{2CD26E3D-A698-4CFD-AD33-CC543F940D66}"/>
          </ac:spMkLst>
        </pc:spChg>
        <pc:spChg chg="mod topLvl">
          <ac:chgData name="Susan Van Eyck" userId="662afd01-5edf-4fbb-b0e2-2ead5b38d415" providerId="ADAL" clId="{DDD55DA9-AA83-458D-8DEA-61425C32F6C1}" dt="2020-03-10T15:34:22.158" v="8359" actId="164"/>
          <ac:spMkLst>
            <pc:docMk/>
            <pc:sldMk cId="3456630159" sldId="624"/>
            <ac:spMk id="10" creationId="{DE6FC4A7-7256-45DE-AF60-F9910431DE9B}"/>
          </ac:spMkLst>
        </pc:spChg>
        <pc:spChg chg="mod topLvl">
          <ac:chgData name="Susan Van Eyck" userId="662afd01-5edf-4fbb-b0e2-2ead5b38d415" providerId="ADAL" clId="{DDD55DA9-AA83-458D-8DEA-61425C32F6C1}" dt="2020-03-10T15:34:22.158" v="8359" actId="164"/>
          <ac:spMkLst>
            <pc:docMk/>
            <pc:sldMk cId="3456630159" sldId="624"/>
            <ac:spMk id="11" creationId="{4C1DBF06-3742-493B-AC19-D75F0CE96B27}"/>
          </ac:spMkLst>
        </pc:spChg>
        <pc:spChg chg="mod topLvl">
          <ac:chgData name="Susan Van Eyck" userId="662afd01-5edf-4fbb-b0e2-2ead5b38d415" providerId="ADAL" clId="{DDD55DA9-AA83-458D-8DEA-61425C32F6C1}" dt="2020-03-10T15:34:22.158" v="8359" actId="164"/>
          <ac:spMkLst>
            <pc:docMk/>
            <pc:sldMk cId="3456630159" sldId="624"/>
            <ac:spMk id="13" creationId="{299B3597-7322-4B4C-89BD-1B1865818001}"/>
          </ac:spMkLst>
        </pc:spChg>
        <pc:spChg chg="mod">
          <ac:chgData name="Susan Van Eyck" userId="662afd01-5edf-4fbb-b0e2-2ead5b38d415" providerId="ADAL" clId="{DDD55DA9-AA83-458D-8DEA-61425C32F6C1}" dt="2020-03-10T14:12:28.385" v="7510" actId="207"/>
          <ac:spMkLst>
            <pc:docMk/>
            <pc:sldMk cId="3456630159" sldId="624"/>
            <ac:spMk id="15" creationId="{0CE6064C-8A6A-43FA-BC46-EBA10AA599F9}"/>
          </ac:spMkLst>
        </pc:spChg>
        <pc:grpChg chg="add mod">
          <ac:chgData name="Susan Van Eyck" userId="662afd01-5edf-4fbb-b0e2-2ead5b38d415" providerId="ADAL" clId="{DDD55DA9-AA83-458D-8DEA-61425C32F6C1}" dt="2020-03-10T15:34:22.158" v="8359" actId="164"/>
          <ac:grpSpMkLst>
            <pc:docMk/>
            <pc:sldMk cId="3456630159" sldId="624"/>
            <ac:grpSpMk id="4" creationId="{86487599-AFEE-4CF0-A00F-C605F5977B65}"/>
          </ac:grpSpMkLst>
        </pc:grpChg>
        <pc:grpChg chg="del mod">
          <ac:chgData name="Susan Van Eyck" userId="662afd01-5edf-4fbb-b0e2-2ead5b38d415" providerId="ADAL" clId="{DDD55DA9-AA83-458D-8DEA-61425C32F6C1}" dt="2020-03-10T14:11:27.722" v="7504" actId="165"/>
          <ac:grpSpMkLst>
            <pc:docMk/>
            <pc:sldMk cId="3456630159" sldId="624"/>
            <ac:grpSpMk id="14" creationId="{296867B8-2CB1-4CE0-B1D9-2B059F15B189}"/>
          </ac:grpSpMkLst>
        </pc:grpChg>
        <pc:graphicFrameChg chg="mod">
          <ac:chgData name="Susan Van Eyck" userId="662afd01-5edf-4fbb-b0e2-2ead5b38d415" providerId="ADAL" clId="{DDD55DA9-AA83-458D-8DEA-61425C32F6C1}" dt="2020-03-10T13:57:25.863" v="7318" actId="12100"/>
          <ac:graphicFrameMkLst>
            <pc:docMk/>
            <pc:sldMk cId="3456630159" sldId="624"/>
            <ac:graphicFrameMk id="12" creationId="{A7202010-A317-457F-B4F7-8BA153FC2640}"/>
          </ac:graphicFrameMkLst>
        </pc:graphicFrameChg>
      </pc:sldChg>
      <pc:sldChg chg="modSp mod modShow">
        <pc:chgData name="Susan Van Eyck" userId="662afd01-5edf-4fbb-b0e2-2ead5b38d415" providerId="ADAL" clId="{DDD55DA9-AA83-458D-8DEA-61425C32F6C1}" dt="2020-03-10T14:45:41.299" v="7737" actId="729"/>
        <pc:sldMkLst>
          <pc:docMk/>
          <pc:sldMk cId="89027789" sldId="625"/>
        </pc:sldMkLst>
        <pc:picChg chg="mod">
          <ac:chgData name="Susan Van Eyck" userId="662afd01-5edf-4fbb-b0e2-2ead5b38d415" providerId="ADAL" clId="{DDD55DA9-AA83-458D-8DEA-61425C32F6C1}" dt="2020-03-09T20:26:35.163" v="4346" actId="1036"/>
          <ac:picMkLst>
            <pc:docMk/>
            <pc:sldMk cId="89027789" sldId="625"/>
            <ac:picMk id="12" creationId="{16ED6B3F-2F5E-4E48-9074-FDEA740AB14B}"/>
          </ac:picMkLst>
        </pc:picChg>
      </pc:sldChg>
      <pc:sldChg chg="modSp add mod">
        <pc:chgData name="Susan Van Eyck" userId="662afd01-5edf-4fbb-b0e2-2ead5b38d415" providerId="ADAL" clId="{DDD55DA9-AA83-458D-8DEA-61425C32F6C1}" dt="2020-03-10T15:24:59.297" v="8298" actId="14100"/>
        <pc:sldMkLst>
          <pc:docMk/>
          <pc:sldMk cId="519037539" sldId="627"/>
        </pc:sldMkLst>
        <pc:spChg chg="mod">
          <ac:chgData name="Susan Van Eyck" userId="662afd01-5edf-4fbb-b0e2-2ead5b38d415" providerId="ADAL" clId="{DDD55DA9-AA83-458D-8DEA-61425C32F6C1}" dt="2020-03-09T19:11:22.559" v="3257" actId="20577"/>
          <ac:spMkLst>
            <pc:docMk/>
            <pc:sldMk cId="519037539" sldId="627"/>
            <ac:spMk id="2" creationId="{A4095E62-D259-4FBE-B0C7-AFECDE14EE10}"/>
          </ac:spMkLst>
        </pc:spChg>
        <pc:graphicFrameChg chg="mod">
          <ac:chgData name="Susan Van Eyck" userId="662afd01-5edf-4fbb-b0e2-2ead5b38d415" providerId="ADAL" clId="{DDD55DA9-AA83-458D-8DEA-61425C32F6C1}" dt="2020-03-10T15:24:59.297" v="8298" actId="14100"/>
          <ac:graphicFrameMkLst>
            <pc:docMk/>
            <pc:sldMk cId="519037539" sldId="627"/>
            <ac:graphicFrameMk id="5" creationId="{B66B831C-F1F8-47C4-84AB-11D57DC1D212}"/>
          </ac:graphicFrameMkLst>
        </pc:graphicFrameChg>
      </pc:sldChg>
      <pc:sldChg chg="add">
        <pc:chgData name="Susan Van Eyck" userId="662afd01-5edf-4fbb-b0e2-2ead5b38d415" providerId="ADAL" clId="{DDD55DA9-AA83-458D-8DEA-61425C32F6C1}" dt="2020-03-09T02:30:56.301" v="0" actId="22"/>
        <pc:sldMkLst>
          <pc:docMk/>
          <pc:sldMk cId="4058008946" sldId="628"/>
        </pc:sldMkLst>
      </pc:sldChg>
      <pc:sldChg chg="addSp delSp modSp add mod modAnim modNotesTx">
        <pc:chgData name="Susan Van Eyck" userId="662afd01-5edf-4fbb-b0e2-2ead5b38d415" providerId="ADAL" clId="{DDD55DA9-AA83-458D-8DEA-61425C32F6C1}" dt="2020-03-09T18:05:50.915" v="1931" actId="1038"/>
        <pc:sldMkLst>
          <pc:docMk/>
          <pc:sldMk cId="62800216" sldId="629"/>
        </pc:sldMkLst>
        <pc:spChg chg="add del mod">
          <ac:chgData name="Susan Van Eyck" userId="662afd01-5edf-4fbb-b0e2-2ead5b38d415" providerId="ADAL" clId="{DDD55DA9-AA83-458D-8DEA-61425C32F6C1}" dt="2020-03-09T17:25:26.967" v="1027" actId="12084"/>
          <ac:spMkLst>
            <pc:docMk/>
            <pc:sldMk cId="62800216" sldId="629"/>
            <ac:spMk id="4" creationId="{81D51259-7654-4B52-BA4F-EB787FF4353D}"/>
          </ac:spMkLst>
        </pc:spChg>
        <pc:graphicFrameChg chg="add mod">
          <ac:chgData name="Susan Van Eyck" userId="662afd01-5edf-4fbb-b0e2-2ead5b38d415" providerId="ADAL" clId="{DDD55DA9-AA83-458D-8DEA-61425C32F6C1}" dt="2020-03-09T18:05:50.915" v="1931" actId="1038"/>
          <ac:graphicFrameMkLst>
            <pc:docMk/>
            <pc:sldMk cId="62800216" sldId="629"/>
            <ac:graphicFrameMk id="5" creationId="{20715EAE-3A63-404C-A00E-9C019A6C9FB7}"/>
          </ac:graphicFrameMkLst>
        </pc:graphicFrameChg>
      </pc:sldChg>
      <pc:sldChg chg="addSp delSp modSp add mod modAnim">
        <pc:chgData name="Susan Van Eyck" userId="662afd01-5edf-4fbb-b0e2-2ead5b38d415" providerId="ADAL" clId="{DDD55DA9-AA83-458D-8DEA-61425C32F6C1}" dt="2020-03-09T19:16:51.451" v="3391" actId="255"/>
        <pc:sldMkLst>
          <pc:docMk/>
          <pc:sldMk cId="2749008421" sldId="630"/>
        </pc:sldMkLst>
        <pc:spChg chg="add del mod">
          <ac:chgData name="Susan Van Eyck" userId="662afd01-5edf-4fbb-b0e2-2ead5b38d415" providerId="ADAL" clId="{DDD55DA9-AA83-458D-8DEA-61425C32F6C1}" dt="2020-03-09T17:33:27.516" v="1337" actId="12084"/>
          <ac:spMkLst>
            <pc:docMk/>
            <pc:sldMk cId="2749008421" sldId="630"/>
            <ac:spMk id="4" creationId="{F9E3EA51-EFA6-4977-AE81-621ABA02F4C0}"/>
          </ac:spMkLst>
        </pc:spChg>
        <pc:spChg chg="add del topLvl">
          <ac:chgData name="Susan Van Eyck" userId="662afd01-5edf-4fbb-b0e2-2ead5b38d415" providerId="ADAL" clId="{DDD55DA9-AA83-458D-8DEA-61425C32F6C1}" dt="2020-03-09T17:28:56.189" v="1036" actId="478"/>
          <ac:spMkLst>
            <pc:docMk/>
            <pc:sldMk cId="2749008421" sldId="630"/>
            <ac:spMk id="7" creationId="{3AFB2005-01F0-4A14-B064-99F87BD072A2}"/>
          </ac:spMkLst>
        </pc:spChg>
        <pc:spChg chg="add del topLvl">
          <ac:chgData name="Susan Van Eyck" userId="662afd01-5edf-4fbb-b0e2-2ead5b38d415" providerId="ADAL" clId="{DDD55DA9-AA83-458D-8DEA-61425C32F6C1}" dt="2020-03-09T17:28:54.242" v="1035" actId="478"/>
          <ac:spMkLst>
            <pc:docMk/>
            <pc:sldMk cId="2749008421" sldId="630"/>
            <ac:spMk id="8" creationId="{0D050121-7E02-450A-865B-89FE24518474}"/>
          </ac:spMkLst>
        </pc:spChg>
        <pc:grpChg chg="add del mod">
          <ac:chgData name="Susan Van Eyck" userId="662afd01-5edf-4fbb-b0e2-2ead5b38d415" providerId="ADAL" clId="{DDD55DA9-AA83-458D-8DEA-61425C32F6C1}" dt="2020-03-09T17:28:54.242" v="1035" actId="478"/>
          <ac:grpSpMkLst>
            <pc:docMk/>
            <pc:sldMk cId="2749008421" sldId="630"/>
            <ac:grpSpMk id="6" creationId="{0AC555B5-0618-4A57-9400-C178D3B506C1}"/>
          </ac:grpSpMkLst>
        </pc:grpChg>
        <pc:graphicFrameChg chg="add mod">
          <ac:chgData name="Susan Van Eyck" userId="662afd01-5edf-4fbb-b0e2-2ead5b38d415" providerId="ADAL" clId="{DDD55DA9-AA83-458D-8DEA-61425C32F6C1}" dt="2020-03-09T19:16:51.451" v="3391" actId="255"/>
          <ac:graphicFrameMkLst>
            <pc:docMk/>
            <pc:sldMk cId="2749008421" sldId="630"/>
            <ac:graphicFrameMk id="9" creationId="{40C3E9E3-8F15-4F16-A35A-D0812DB6CF4F}"/>
          </ac:graphicFrameMkLst>
        </pc:graphicFrameChg>
        <pc:picChg chg="mod">
          <ac:chgData name="Susan Van Eyck" userId="662afd01-5edf-4fbb-b0e2-2ead5b38d415" providerId="ADAL" clId="{DDD55DA9-AA83-458D-8DEA-61425C32F6C1}" dt="2020-03-09T17:37:55.214" v="1354" actId="1076"/>
          <ac:picMkLst>
            <pc:docMk/>
            <pc:sldMk cId="2749008421" sldId="630"/>
            <ac:picMk id="5" creationId="{71A66291-C4EE-4ADC-8A60-E69B3F4AF001}"/>
          </ac:picMkLst>
        </pc:picChg>
        <pc:picChg chg="add del mod">
          <ac:chgData name="Susan Van Eyck" userId="662afd01-5edf-4fbb-b0e2-2ead5b38d415" providerId="ADAL" clId="{DDD55DA9-AA83-458D-8DEA-61425C32F6C1}" dt="2020-03-09T17:36:16.686" v="1345" actId="21"/>
          <ac:picMkLst>
            <pc:docMk/>
            <pc:sldMk cId="2749008421" sldId="630"/>
            <ac:picMk id="10" creationId="{F64070FB-4E78-4EB8-882E-35ADD8FE46E8}"/>
          </ac:picMkLst>
        </pc:picChg>
      </pc:sldChg>
      <pc:sldChg chg="addSp delSp modSp add mod modAnim">
        <pc:chgData name="Susan Van Eyck" userId="662afd01-5edf-4fbb-b0e2-2ead5b38d415" providerId="ADAL" clId="{DDD55DA9-AA83-458D-8DEA-61425C32F6C1}" dt="2020-03-09T19:18:33.270" v="3447" actId="20577"/>
        <pc:sldMkLst>
          <pc:docMk/>
          <pc:sldMk cId="1050351849" sldId="631"/>
        </pc:sldMkLst>
        <pc:spChg chg="mod">
          <ac:chgData name="Susan Van Eyck" userId="662afd01-5edf-4fbb-b0e2-2ead5b38d415" providerId="ADAL" clId="{DDD55DA9-AA83-458D-8DEA-61425C32F6C1}" dt="2020-03-09T17:39:59.615" v="1368" actId="20577"/>
          <ac:spMkLst>
            <pc:docMk/>
            <pc:sldMk cId="1050351849" sldId="631"/>
            <ac:spMk id="2" creationId="{6AA9919A-B5CF-4986-AC55-CDE437AF87C4}"/>
          </ac:spMkLst>
        </pc:spChg>
        <pc:spChg chg="add del mod">
          <ac:chgData name="Susan Van Eyck" userId="662afd01-5edf-4fbb-b0e2-2ead5b38d415" providerId="ADAL" clId="{DDD55DA9-AA83-458D-8DEA-61425C32F6C1}" dt="2020-03-09T17:47:34.105" v="1717" actId="12084"/>
          <ac:spMkLst>
            <pc:docMk/>
            <pc:sldMk cId="1050351849" sldId="631"/>
            <ac:spMk id="4" creationId="{F6D36B6A-16A5-4044-A0C2-8D2B3A651393}"/>
          </ac:spMkLst>
        </pc:spChg>
        <pc:spChg chg="add del topLvl">
          <ac:chgData name="Susan Van Eyck" userId="662afd01-5edf-4fbb-b0e2-2ead5b38d415" providerId="ADAL" clId="{DDD55DA9-AA83-458D-8DEA-61425C32F6C1}" dt="2020-03-09T17:48:37.635" v="1727" actId="478"/>
          <ac:spMkLst>
            <pc:docMk/>
            <pc:sldMk cId="1050351849" sldId="631"/>
            <ac:spMk id="8" creationId="{DB3C0034-63AF-4CC6-908C-59673F84E30B}"/>
          </ac:spMkLst>
        </pc:spChg>
        <pc:spChg chg="add del mod topLvl">
          <ac:chgData name="Susan Van Eyck" userId="662afd01-5edf-4fbb-b0e2-2ead5b38d415" providerId="ADAL" clId="{DDD55DA9-AA83-458D-8DEA-61425C32F6C1}" dt="2020-03-09T17:48:34.668" v="1726" actId="478"/>
          <ac:spMkLst>
            <pc:docMk/>
            <pc:sldMk cId="1050351849" sldId="631"/>
            <ac:spMk id="9" creationId="{FB873372-5EB8-4F80-A4A7-D6FC3D94CB2D}"/>
          </ac:spMkLst>
        </pc:spChg>
        <pc:grpChg chg="add del mod">
          <ac:chgData name="Susan Van Eyck" userId="662afd01-5edf-4fbb-b0e2-2ead5b38d415" providerId="ADAL" clId="{DDD55DA9-AA83-458D-8DEA-61425C32F6C1}" dt="2020-03-09T17:48:34.668" v="1726" actId="478"/>
          <ac:grpSpMkLst>
            <pc:docMk/>
            <pc:sldMk cId="1050351849" sldId="631"/>
            <ac:grpSpMk id="7" creationId="{9DB301D8-0072-4BAE-8304-225C3C983D42}"/>
          </ac:grpSpMkLst>
        </pc:grpChg>
        <pc:graphicFrameChg chg="add mod">
          <ac:chgData name="Susan Van Eyck" userId="662afd01-5edf-4fbb-b0e2-2ead5b38d415" providerId="ADAL" clId="{DDD55DA9-AA83-458D-8DEA-61425C32F6C1}" dt="2020-03-09T19:18:33.270" v="3447" actId="20577"/>
          <ac:graphicFrameMkLst>
            <pc:docMk/>
            <pc:sldMk cId="1050351849" sldId="631"/>
            <ac:graphicFrameMk id="10" creationId="{D4627112-D2CC-4149-B709-7ABC7F0D1E4F}"/>
          </ac:graphicFrameMkLst>
        </pc:graphicFrameChg>
        <pc:picChg chg="add del mod">
          <ac:chgData name="Susan Van Eyck" userId="662afd01-5edf-4fbb-b0e2-2ead5b38d415" providerId="ADAL" clId="{DDD55DA9-AA83-458D-8DEA-61425C32F6C1}" dt="2020-03-09T18:40:49.818" v="2094" actId="21"/>
          <ac:picMkLst>
            <pc:docMk/>
            <pc:sldMk cId="1050351849" sldId="631"/>
            <ac:picMk id="6" creationId="{F752CB50-EDC9-45C7-B40C-185CB7D6760B}"/>
          </ac:picMkLst>
        </pc:picChg>
      </pc:sldChg>
      <pc:sldChg chg="addSp delSp modSp add del mod">
        <pc:chgData name="Susan Van Eyck" userId="662afd01-5edf-4fbb-b0e2-2ead5b38d415" providerId="ADAL" clId="{DDD55DA9-AA83-458D-8DEA-61425C32F6C1}" dt="2020-03-09T18:41:57.624" v="2099" actId="47"/>
        <pc:sldMkLst>
          <pc:docMk/>
          <pc:sldMk cId="3433252255" sldId="632"/>
        </pc:sldMkLst>
        <pc:spChg chg="add del mod">
          <ac:chgData name="Susan Van Eyck" userId="662afd01-5edf-4fbb-b0e2-2ead5b38d415" providerId="ADAL" clId="{DDD55DA9-AA83-458D-8DEA-61425C32F6C1}" dt="2020-03-09T17:53:23.036" v="1878" actId="12084"/>
          <ac:spMkLst>
            <pc:docMk/>
            <pc:sldMk cId="3433252255" sldId="632"/>
            <ac:spMk id="4" creationId="{CB35ACCE-CBCD-4CA9-9E11-009FC49AED00}"/>
          </ac:spMkLst>
        </pc:spChg>
        <pc:graphicFrameChg chg="add mod">
          <ac:chgData name="Susan Van Eyck" userId="662afd01-5edf-4fbb-b0e2-2ead5b38d415" providerId="ADAL" clId="{DDD55DA9-AA83-458D-8DEA-61425C32F6C1}" dt="2020-03-09T18:23:21.608" v="1941" actId="14100"/>
          <ac:graphicFrameMkLst>
            <pc:docMk/>
            <pc:sldMk cId="3433252255" sldId="632"/>
            <ac:graphicFrameMk id="8" creationId="{4E0AC9C1-FAF9-4699-BEE7-F3BE24D0664F}"/>
          </ac:graphicFrameMkLst>
        </pc:graphicFrameChg>
        <pc:picChg chg="add">
          <ac:chgData name="Susan Van Eyck" userId="662afd01-5edf-4fbb-b0e2-2ead5b38d415" providerId="ADAL" clId="{DDD55DA9-AA83-458D-8DEA-61425C32F6C1}" dt="2020-03-09T17:53:55.277" v="1881"/>
          <ac:picMkLst>
            <pc:docMk/>
            <pc:sldMk cId="3433252255" sldId="632"/>
            <ac:picMk id="9" creationId="{89577F07-F21B-4C63-A99B-4DD389AE278F}"/>
          </ac:picMkLst>
        </pc:picChg>
      </pc:sldChg>
      <pc:sldChg chg="addSp delSp modSp add mod modAnim">
        <pc:chgData name="Susan Van Eyck" userId="662afd01-5edf-4fbb-b0e2-2ead5b38d415" providerId="ADAL" clId="{DDD55DA9-AA83-458D-8DEA-61425C32F6C1}" dt="2020-03-09T19:22:36.246" v="3545" actId="20577"/>
        <pc:sldMkLst>
          <pc:docMk/>
          <pc:sldMk cId="3423763271" sldId="633"/>
        </pc:sldMkLst>
        <pc:spChg chg="add del">
          <ac:chgData name="Susan Van Eyck" userId="662afd01-5edf-4fbb-b0e2-2ead5b38d415" providerId="ADAL" clId="{DDD55DA9-AA83-458D-8DEA-61425C32F6C1}" dt="2020-03-09T19:20:45.675" v="3462" actId="478"/>
          <ac:spMkLst>
            <pc:docMk/>
            <pc:sldMk cId="3423763271" sldId="633"/>
            <ac:spMk id="7" creationId="{E5E3D433-6FF4-4D9D-80AA-DF95E56FD309}"/>
          </ac:spMkLst>
        </pc:spChg>
        <pc:graphicFrameChg chg="add mod">
          <ac:chgData name="Susan Van Eyck" userId="662afd01-5edf-4fbb-b0e2-2ead5b38d415" providerId="ADAL" clId="{DDD55DA9-AA83-458D-8DEA-61425C32F6C1}" dt="2020-03-09T19:22:36.246" v="3545" actId="20577"/>
          <ac:graphicFrameMkLst>
            <pc:docMk/>
            <pc:sldMk cId="3423763271" sldId="633"/>
            <ac:graphicFrameMk id="8" creationId="{6224B7FE-113D-4092-9734-989D4D500727}"/>
          </ac:graphicFrameMkLst>
        </pc:graphicFrameChg>
        <pc:picChg chg="add del mod">
          <ac:chgData name="Susan Van Eyck" userId="662afd01-5edf-4fbb-b0e2-2ead5b38d415" providerId="ADAL" clId="{DDD55DA9-AA83-458D-8DEA-61425C32F6C1}" dt="2020-03-09T18:42:48.025" v="2103" actId="21"/>
          <ac:picMkLst>
            <pc:docMk/>
            <pc:sldMk cId="3423763271" sldId="633"/>
            <ac:picMk id="6" creationId="{0AB5AE9C-4068-4B6C-9D32-A596D5BC9CB4}"/>
          </ac:picMkLst>
        </pc:picChg>
      </pc:sldChg>
      <pc:sldChg chg="addSp delSp modSp add mod modAnim">
        <pc:chgData name="Susan Van Eyck" userId="662afd01-5edf-4fbb-b0e2-2ead5b38d415" providerId="ADAL" clId="{DDD55DA9-AA83-458D-8DEA-61425C32F6C1}" dt="2020-03-09T19:24:21.837" v="3549"/>
        <pc:sldMkLst>
          <pc:docMk/>
          <pc:sldMk cId="1055122509" sldId="634"/>
        </pc:sldMkLst>
        <pc:spChg chg="add del mod">
          <ac:chgData name="Susan Van Eyck" userId="662afd01-5edf-4fbb-b0e2-2ead5b38d415" providerId="ADAL" clId="{DDD55DA9-AA83-458D-8DEA-61425C32F6C1}" dt="2020-03-09T18:56:02.284" v="2948" actId="478"/>
          <ac:spMkLst>
            <pc:docMk/>
            <pc:sldMk cId="1055122509" sldId="634"/>
            <ac:spMk id="8" creationId="{584A7E50-C68D-4393-8A33-05672FF6FB4D}"/>
          </ac:spMkLst>
        </pc:spChg>
        <pc:graphicFrameChg chg="add mod ord">
          <ac:chgData name="Susan Van Eyck" userId="662afd01-5edf-4fbb-b0e2-2ead5b38d415" providerId="ADAL" clId="{DDD55DA9-AA83-458D-8DEA-61425C32F6C1}" dt="2020-03-09T18:58:58.624" v="3016" actId="1076"/>
          <ac:graphicFrameMkLst>
            <pc:docMk/>
            <pc:sldMk cId="1055122509" sldId="634"/>
            <ac:graphicFrameMk id="9" creationId="{0B1A060D-CA61-42B5-B72C-E757BD55294F}"/>
          </ac:graphicFrameMkLst>
        </pc:graphicFrameChg>
        <pc:picChg chg="mod ord">
          <ac:chgData name="Susan Van Eyck" userId="662afd01-5edf-4fbb-b0e2-2ead5b38d415" providerId="ADAL" clId="{DDD55DA9-AA83-458D-8DEA-61425C32F6C1}" dt="2020-03-09T19:23:10.514" v="3546" actId="208"/>
          <ac:picMkLst>
            <pc:docMk/>
            <pc:sldMk cId="1055122509" sldId="634"/>
            <ac:picMk id="5" creationId="{0DA6F732-256C-49F5-81C9-F00EED1C5DA4}"/>
          </ac:picMkLst>
        </pc:picChg>
        <pc:picChg chg="mod">
          <ac:chgData name="Susan Van Eyck" userId="662afd01-5edf-4fbb-b0e2-2ead5b38d415" providerId="ADAL" clId="{DDD55DA9-AA83-458D-8DEA-61425C32F6C1}" dt="2020-03-09T19:23:24.762" v="3547" actId="208"/>
          <ac:picMkLst>
            <pc:docMk/>
            <pc:sldMk cId="1055122509" sldId="634"/>
            <ac:picMk id="6" creationId="{C3D2B4DE-DAFA-43A5-9BE6-939247E0E475}"/>
          </ac:picMkLst>
        </pc:picChg>
        <pc:picChg chg="add del">
          <ac:chgData name="Susan Van Eyck" userId="662afd01-5edf-4fbb-b0e2-2ead5b38d415" providerId="ADAL" clId="{DDD55DA9-AA83-458D-8DEA-61425C32F6C1}" dt="2020-03-09T18:52:55.695" v="2794" actId="478"/>
          <ac:picMkLst>
            <pc:docMk/>
            <pc:sldMk cId="1055122509" sldId="634"/>
            <ac:picMk id="7" creationId="{66E592A6-9A38-4C8E-B3E3-5D7739A07017}"/>
          </ac:picMkLst>
        </pc:picChg>
      </pc:sldChg>
      <pc:sldChg chg="addSp delSp modSp add mod modAnim">
        <pc:chgData name="Susan Van Eyck" userId="662afd01-5edf-4fbb-b0e2-2ead5b38d415" providerId="ADAL" clId="{DDD55DA9-AA83-458D-8DEA-61425C32F6C1}" dt="2020-03-10T15:30:17.367" v="8309" actId="1076"/>
        <pc:sldMkLst>
          <pc:docMk/>
          <pc:sldMk cId="3923205332" sldId="635"/>
        </pc:sldMkLst>
        <pc:graphicFrameChg chg="add mod">
          <ac:chgData name="Susan Van Eyck" userId="662afd01-5edf-4fbb-b0e2-2ead5b38d415" providerId="ADAL" clId="{DDD55DA9-AA83-458D-8DEA-61425C32F6C1}" dt="2020-03-10T15:30:17.367" v="8309" actId="1076"/>
          <ac:graphicFrameMkLst>
            <pc:docMk/>
            <pc:sldMk cId="3923205332" sldId="635"/>
            <ac:graphicFrameMk id="7" creationId="{1B63A864-F047-4DB6-A6C8-F0660F0B3C3A}"/>
          </ac:graphicFrameMkLst>
        </pc:graphicFrameChg>
        <pc:picChg chg="add del">
          <ac:chgData name="Susan Van Eyck" userId="662afd01-5edf-4fbb-b0e2-2ead5b38d415" providerId="ADAL" clId="{DDD55DA9-AA83-458D-8DEA-61425C32F6C1}" dt="2020-03-09T18:58:21.157" v="3012" actId="478"/>
          <ac:picMkLst>
            <pc:docMk/>
            <pc:sldMk cId="3923205332" sldId="635"/>
            <ac:picMk id="6" creationId="{E2DD4EB5-67E7-4572-91C3-D1273A3AF64E}"/>
          </ac:picMkLst>
        </pc:picChg>
      </pc:sldChg>
      <pc:sldChg chg="add del">
        <pc:chgData name="Susan Van Eyck" userId="662afd01-5edf-4fbb-b0e2-2ead5b38d415" providerId="ADAL" clId="{DDD55DA9-AA83-458D-8DEA-61425C32F6C1}" dt="2020-03-09T19:30:49.119" v="3613" actId="2696"/>
        <pc:sldMkLst>
          <pc:docMk/>
          <pc:sldMk cId="3818398668" sldId="636"/>
        </pc:sldMkLst>
      </pc:sldChg>
      <pc:sldChg chg="modSp add del mod">
        <pc:chgData name="Susan Van Eyck" userId="662afd01-5edf-4fbb-b0e2-2ead5b38d415" providerId="ADAL" clId="{DDD55DA9-AA83-458D-8DEA-61425C32F6C1}" dt="2020-03-09T19:30:49.119" v="3613" actId="2696"/>
        <pc:sldMkLst>
          <pc:docMk/>
          <pc:sldMk cId="784210373" sldId="637"/>
        </pc:sldMkLst>
        <pc:picChg chg="mod modCrop">
          <ac:chgData name="Susan Van Eyck" userId="662afd01-5edf-4fbb-b0e2-2ead5b38d415" providerId="ADAL" clId="{DDD55DA9-AA83-458D-8DEA-61425C32F6C1}" dt="2020-03-09T19:03:10.389" v="3105" actId="732"/>
          <ac:picMkLst>
            <pc:docMk/>
            <pc:sldMk cId="784210373" sldId="637"/>
            <ac:picMk id="3" creationId="{ADF70B1D-432E-4623-9290-59479E53DC58}"/>
          </ac:picMkLst>
        </pc:picChg>
        <pc:picChg chg="mod">
          <ac:chgData name="Susan Van Eyck" userId="662afd01-5edf-4fbb-b0e2-2ead5b38d415" providerId="ADAL" clId="{DDD55DA9-AA83-458D-8DEA-61425C32F6C1}" dt="2020-03-09T19:03:18.807" v="3106" actId="1076"/>
          <ac:picMkLst>
            <pc:docMk/>
            <pc:sldMk cId="784210373" sldId="637"/>
            <ac:picMk id="5" creationId="{4A53DC24-8772-4547-ADD7-33D3CCD91C28}"/>
          </ac:picMkLst>
        </pc:picChg>
      </pc:sldChg>
      <pc:sldChg chg="addSp delSp modSp add del mod modAnim">
        <pc:chgData name="Susan Van Eyck" userId="662afd01-5edf-4fbb-b0e2-2ead5b38d415" providerId="ADAL" clId="{DDD55DA9-AA83-458D-8DEA-61425C32F6C1}" dt="2020-03-09T19:30:49.119" v="3613" actId="2696"/>
        <pc:sldMkLst>
          <pc:docMk/>
          <pc:sldMk cId="1630228123" sldId="638"/>
        </pc:sldMkLst>
        <pc:spChg chg="mod">
          <ac:chgData name="Susan Van Eyck" userId="662afd01-5edf-4fbb-b0e2-2ead5b38d415" providerId="ADAL" clId="{DDD55DA9-AA83-458D-8DEA-61425C32F6C1}" dt="2020-03-09T19:07:26.531" v="3239" actId="404"/>
          <ac:spMkLst>
            <pc:docMk/>
            <pc:sldMk cId="1630228123" sldId="638"/>
            <ac:spMk id="4" creationId="{530CF9BE-C63F-456B-A37C-BF85D0F42620}"/>
          </ac:spMkLst>
        </pc:spChg>
        <pc:spChg chg="mod">
          <ac:chgData name="Susan Van Eyck" userId="662afd01-5edf-4fbb-b0e2-2ead5b38d415" providerId="ADAL" clId="{DDD55DA9-AA83-458D-8DEA-61425C32F6C1}" dt="2020-03-09T19:07:26.531" v="3239" actId="404"/>
          <ac:spMkLst>
            <pc:docMk/>
            <pc:sldMk cId="1630228123" sldId="638"/>
            <ac:spMk id="5" creationId="{0F4C36E4-6CD8-4340-8D07-B6CFC2D22D07}"/>
          </ac:spMkLst>
        </pc:spChg>
        <pc:spChg chg="mod">
          <ac:chgData name="Susan Van Eyck" userId="662afd01-5edf-4fbb-b0e2-2ead5b38d415" providerId="ADAL" clId="{DDD55DA9-AA83-458D-8DEA-61425C32F6C1}" dt="2020-03-09T19:07:39.538" v="3242" actId="14100"/>
          <ac:spMkLst>
            <pc:docMk/>
            <pc:sldMk cId="1630228123" sldId="638"/>
            <ac:spMk id="7" creationId="{F080824C-CBE2-45D2-B87F-21DE38D3FEC5}"/>
          </ac:spMkLst>
        </pc:spChg>
        <pc:spChg chg="add mod">
          <ac:chgData name="Susan Van Eyck" userId="662afd01-5edf-4fbb-b0e2-2ead5b38d415" providerId="ADAL" clId="{DDD55DA9-AA83-458D-8DEA-61425C32F6C1}" dt="2020-03-09T19:07:33.111" v="3240" actId="14100"/>
          <ac:spMkLst>
            <pc:docMk/>
            <pc:sldMk cId="1630228123" sldId="638"/>
            <ac:spMk id="9" creationId="{D582D0A2-BB84-416B-A222-AD596EDDDA0A}"/>
          </ac:spMkLst>
        </pc:spChg>
        <pc:spChg chg="add mod">
          <ac:chgData name="Susan Van Eyck" userId="662afd01-5edf-4fbb-b0e2-2ead5b38d415" providerId="ADAL" clId="{DDD55DA9-AA83-458D-8DEA-61425C32F6C1}" dt="2020-03-09T19:30:06.120" v="3612" actId="14100"/>
          <ac:spMkLst>
            <pc:docMk/>
            <pc:sldMk cId="1630228123" sldId="638"/>
            <ac:spMk id="10" creationId="{2E330201-F040-4DF9-B93E-A578C8A93191}"/>
          </ac:spMkLst>
        </pc:spChg>
        <pc:spChg chg="add mod">
          <ac:chgData name="Susan Van Eyck" userId="662afd01-5edf-4fbb-b0e2-2ead5b38d415" providerId="ADAL" clId="{DDD55DA9-AA83-458D-8DEA-61425C32F6C1}" dt="2020-03-09T19:29:21.741" v="3607" actId="14100"/>
          <ac:spMkLst>
            <pc:docMk/>
            <pc:sldMk cId="1630228123" sldId="638"/>
            <ac:spMk id="11" creationId="{99A472AB-4D3E-4BE8-A2AB-38D82A417A54}"/>
          </ac:spMkLst>
        </pc:spChg>
        <pc:spChg chg="add mod">
          <ac:chgData name="Susan Van Eyck" userId="662afd01-5edf-4fbb-b0e2-2ead5b38d415" providerId="ADAL" clId="{DDD55DA9-AA83-458D-8DEA-61425C32F6C1}" dt="2020-03-09T19:29:09.448" v="3604" actId="14100"/>
          <ac:spMkLst>
            <pc:docMk/>
            <pc:sldMk cId="1630228123" sldId="638"/>
            <ac:spMk id="12" creationId="{73FDD92A-29A5-4211-A8D0-4F856471FC16}"/>
          </ac:spMkLst>
        </pc:spChg>
        <pc:spChg chg="add mod">
          <ac:chgData name="Susan Van Eyck" userId="662afd01-5edf-4fbb-b0e2-2ead5b38d415" providerId="ADAL" clId="{DDD55DA9-AA83-458D-8DEA-61425C32F6C1}" dt="2020-03-09T19:28:24.076" v="3596" actId="14100"/>
          <ac:spMkLst>
            <pc:docMk/>
            <pc:sldMk cId="1630228123" sldId="638"/>
            <ac:spMk id="13" creationId="{1A8D9740-1B66-416B-B80E-1A0EBCE5DCBD}"/>
          </ac:spMkLst>
        </pc:spChg>
        <pc:spChg chg="add mod">
          <ac:chgData name="Susan Van Eyck" userId="662afd01-5edf-4fbb-b0e2-2ead5b38d415" providerId="ADAL" clId="{DDD55DA9-AA83-458D-8DEA-61425C32F6C1}" dt="2020-03-09T19:28:19.316" v="3595" actId="14100"/>
          <ac:spMkLst>
            <pc:docMk/>
            <pc:sldMk cId="1630228123" sldId="638"/>
            <ac:spMk id="14" creationId="{BB1AB6B7-F2F7-4AE8-A480-D7416325ED6C}"/>
          </ac:spMkLst>
        </pc:spChg>
        <pc:spChg chg="add del mod">
          <ac:chgData name="Susan Van Eyck" userId="662afd01-5edf-4fbb-b0e2-2ead5b38d415" providerId="ADAL" clId="{DDD55DA9-AA83-458D-8DEA-61425C32F6C1}" dt="2020-03-09T19:29:30.431" v="3609" actId="478"/>
          <ac:spMkLst>
            <pc:docMk/>
            <pc:sldMk cId="1630228123" sldId="638"/>
            <ac:spMk id="15" creationId="{E3451C0D-4B0D-47D4-B6FE-762FD88D1147}"/>
          </ac:spMkLst>
        </pc:spChg>
        <pc:picChg chg="mod">
          <ac:chgData name="Susan Van Eyck" userId="662afd01-5edf-4fbb-b0e2-2ead5b38d415" providerId="ADAL" clId="{DDD55DA9-AA83-458D-8DEA-61425C32F6C1}" dt="2020-03-09T19:03:42.506" v="3109" actId="1076"/>
          <ac:picMkLst>
            <pc:docMk/>
            <pc:sldMk cId="1630228123" sldId="638"/>
            <ac:picMk id="3" creationId="{3283469E-B7CE-4CF0-B76C-92E6C9B1A702}"/>
          </ac:picMkLst>
        </pc:picChg>
        <pc:picChg chg="mod">
          <ac:chgData name="Susan Van Eyck" userId="662afd01-5edf-4fbb-b0e2-2ead5b38d415" providerId="ADAL" clId="{DDD55DA9-AA83-458D-8DEA-61425C32F6C1}" dt="2020-03-09T19:09:32.907" v="3247" actId="1076"/>
          <ac:picMkLst>
            <pc:docMk/>
            <pc:sldMk cId="1630228123" sldId="638"/>
            <ac:picMk id="6" creationId="{19068CE1-E1F4-4387-9CEE-1F6557401357}"/>
          </ac:picMkLst>
        </pc:picChg>
        <pc:picChg chg="mod">
          <ac:chgData name="Susan Van Eyck" userId="662afd01-5edf-4fbb-b0e2-2ead5b38d415" providerId="ADAL" clId="{DDD55DA9-AA83-458D-8DEA-61425C32F6C1}" dt="2020-03-09T19:03:59.757" v="3112" actId="1076"/>
          <ac:picMkLst>
            <pc:docMk/>
            <pc:sldMk cId="1630228123" sldId="638"/>
            <ac:picMk id="8" creationId="{ABB4AF6F-A8FE-4BEF-A51B-64A558941864}"/>
          </ac:picMkLst>
        </pc:picChg>
      </pc:sldChg>
      <pc:sldChg chg="modSp add mod">
        <pc:chgData name="Susan Van Eyck" userId="662afd01-5edf-4fbb-b0e2-2ead5b38d415" providerId="ADAL" clId="{DDD55DA9-AA83-458D-8DEA-61425C32F6C1}" dt="2020-03-10T15:31:50.172" v="8334" actId="207"/>
        <pc:sldMkLst>
          <pc:docMk/>
          <pc:sldMk cId="3576778871" sldId="639"/>
        </pc:sldMkLst>
        <pc:spChg chg="mod">
          <ac:chgData name="Susan Van Eyck" userId="662afd01-5edf-4fbb-b0e2-2ead5b38d415" providerId="ADAL" clId="{DDD55DA9-AA83-458D-8DEA-61425C32F6C1}" dt="2020-03-10T15:31:50.172" v="8334" actId="207"/>
          <ac:spMkLst>
            <pc:docMk/>
            <pc:sldMk cId="3576778871" sldId="639"/>
            <ac:spMk id="7" creationId="{87BBAFF7-0841-48AD-B0C1-60DDD712B14B}"/>
          </ac:spMkLst>
        </pc:spChg>
      </pc:sldChg>
      <pc:sldChg chg="add">
        <pc:chgData name="Susan Van Eyck" userId="662afd01-5edf-4fbb-b0e2-2ead5b38d415" providerId="ADAL" clId="{DDD55DA9-AA83-458D-8DEA-61425C32F6C1}" dt="2020-03-09T02:30:56.301" v="0" actId="22"/>
        <pc:sldMkLst>
          <pc:docMk/>
          <pc:sldMk cId="732309689" sldId="640"/>
        </pc:sldMkLst>
      </pc:sldChg>
      <pc:sldChg chg="addSp modSp add mod">
        <pc:chgData name="Susan Van Eyck" userId="662afd01-5edf-4fbb-b0e2-2ead5b38d415" providerId="ADAL" clId="{DDD55DA9-AA83-458D-8DEA-61425C32F6C1}" dt="2020-03-10T15:33:54.668" v="8358" actId="164"/>
        <pc:sldMkLst>
          <pc:docMk/>
          <pc:sldMk cId="828906727" sldId="641"/>
        </pc:sldMkLst>
        <pc:spChg chg="mod">
          <ac:chgData name="Susan Van Eyck" userId="662afd01-5edf-4fbb-b0e2-2ead5b38d415" providerId="ADAL" clId="{DDD55DA9-AA83-458D-8DEA-61425C32F6C1}" dt="2020-03-10T15:33:54.668" v="8358" actId="164"/>
          <ac:spMkLst>
            <pc:docMk/>
            <pc:sldMk cId="828906727" sldId="641"/>
            <ac:spMk id="7" creationId="{0973A40F-1EA5-46DE-9161-A767AF857C40}"/>
          </ac:spMkLst>
        </pc:spChg>
        <pc:grpChg chg="add mod">
          <ac:chgData name="Susan Van Eyck" userId="662afd01-5edf-4fbb-b0e2-2ead5b38d415" providerId="ADAL" clId="{DDD55DA9-AA83-458D-8DEA-61425C32F6C1}" dt="2020-03-10T15:33:54.668" v="8358" actId="164"/>
          <ac:grpSpMkLst>
            <pc:docMk/>
            <pc:sldMk cId="828906727" sldId="641"/>
            <ac:grpSpMk id="4" creationId="{CE298ACC-3E39-4F61-9FC1-5867F7D14CFE}"/>
          </ac:grpSpMkLst>
        </pc:grpChg>
        <pc:picChg chg="add mod">
          <ac:chgData name="Susan Van Eyck" userId="662afd01-5edf-4fbb-b0e2-2ead5b38d415" providerId="ADAL" clId="{DDD55DA9-AA83-458D-8DEA-61425C32F6C1}" dt="2020-03-10T15:33:54.668" v="8358" actId="164"/>
          <ac:picMkLst>
            <pc:docMk/>
            <pc:sldMk cId="828906727" sldId="641"/>
            <ac:picMk id="3" creationId="{5E3231B2-91F8-4C69-B10E-A707618487F2}"/>
          </ac:picMkLst>
        </pc:picChg>
      </pc:sldChg>
      <pc:sldChg chg="modSp add mod">
        <pc:chgData name="Susan Van Eyck" userId="662afd01-5edf-4fbb-b0e2-2ead5b38d415" providerId="ADAL" clId="{DDD55DA9-AA83-458D-8DEA-61425C32F6C1}" dt="2020-03-10T15:35:04.149" v="8360" actId="1076"/>
        <pc:sldMkLst>
          <pc:docMk/>
          <pc:sldMk cId="1430172448" sldId="642"/>
        </pc:sldMkLst>
        <pc:picChg chg="mod">
          <ac:chgData name="Susan Van Eyck" userId="662afd01-5edf-4fbb-b0e2-2ead5b38d415" providerId="ADAL" clId="{DDD55DA9-AA83-458D-8DEA-61425C32F6C1}" dt="2020-03-10T15:35:04.149" v="8360" actId="1076"/>
          <ac:picMkLst>
            <pc:docMk/>
            <pc:sldMk cId="1430172448" sldId="642"/>
            <ac:picMk id="8" creationId="{4584D092-5AA1-4B63-9699-D05F7B74B41C}"/>
          </ac:picMkLst>
        </pc:picChg>
      </pc:sldChg>
      <pc:sldChg chg="addSp modSp add del mod ord modAnim">
        <pc:chgData name="Susan Van Eyck" userId="662afd01-5edf-4fbb-b0e2-2ead5b38d415" providerId="ADAL" clId="{DDD55DA9-AA83-458D-8DEA-61425C32F6C1}" dt="2020-03-09T18:41:57.624" v="2099" actId="47"/>
        <pc:sldMkLst>
          <pc:docMk/>
          <pc:sldMk cId="870273819" sldId="643"/>
        </pc:sldMkLst>
        <pc:spChg chg="mod">
          <ac:chgData name="Susan Van Eyck" userId="662afd01-5edf-4fbb-b0e2-2ead5b38d415" providerId="ADAL" clId="{DDD55DA9-AA83-458D-8DEA-61425C32F6C1}" dt="2020-03-09T17:58:03.983" v="1903"/>
          <ac:spMkLst>
            <pc:docMk/>
            <pc:sldMk cId="870273819" sldId="643"/>
            <ac:spMk id="2" creationId="{80E4CD9C-1979-4B97-B76A-2A8C10698D74}"/>
          </ac:spMkLst>
        </pc:spChg>
        <pc:spChg chg="add mod ord">
          <ac:chgData name="Susan Van Eyck" userId="662afd01-5edf-4fbb-b0e2-2ead5b38d415" providerId="ADAL" clId="{DDD55DA9-AA83-458D-8DEA-61425C32F6C1}" dt="2020-03-09T18:26:16.599" v="1962" actId="167"/>
          <ac:spMkLst>
            <pc:docMk/>
            <pc:sldMk cId="870273819" sldId="643"/>
            <ac:spMk id="9" creationId="{CEE1DCEA-4FAD-42FE-8488-5A757D09143C}"/>
          </ac:spMkLst>
        </pc:spChg>
        <pc:spChg chg="add mod ord">
          <ac:chgData name="Susan Van Eyck" userId="662afd01-5edf-4fbb-b0e2-2ead5b38d415" providerId="ADAL" clId="{DDD55DA9-AA83-458D-8DEA-61425C32F6C1}" dt="2020-03-09T18:26:16.599" v="1962" actId="167"/>
          <ac:spMkLst>
            <pc:docMk/>
            <pc:sldMk cId="870273819" sldId="643"/>
            <ac:spMk id="10" creationId="{F7403CC5-409A-404F-A7D3-EB246361C0D5}"/>
          </ac:spMkLst>
        </pc:spChg>
        <pc:graphicFrameChg chg="add mod">
          <ac:chgData name="Susan Van Eyck" userId="662afd01-5edf-4fbb-b0e2-2ead5b38d415" providerId="ADAL" clId="{DDD55DA9-AA83-458D-8DEA-61425C32F6C1}" dt="2020-03-09T18:25:58.707" v="1961"/>
          <ac:graphicFrameMkLst>
            <pc:docMk/>
            <pc:sldMk cId="870273819" sldId="643"/>
            <ac:graphicFrameMk id="7" creationId="{B1109B8D-AB7E-414F-B3F3-9E4AC842D9A1}"/>
          </ac:graphicFrameMkLst>
        </pc:graphicFrameChg>
        <pc:picChg chg="mod">
          <ac:chgData name="Susan Van Eyck" userId="662afd01-5edf-4fbb-b0e2-2ead5b38d415" providerId="ADAL" clId="{DDD55DA9-AA83-458D-8DEA-61425C32F6C1}" dt="2020-03-09T18:27:05.880" v="1965" actId="208"/>
          <ac:picMkLst>
            <pc:docMk/>
            <pc:sldMk cId="870273819" sldId="643"/>
            <ac:picMk id="3" creationId="{CC771779-4E75-4832-82D2-043E539D6BA9}"/>
          </ac:picMkLst>
        </pc:picChg>
      </pc:sldChg>
      <pc:sldChg chg="add del">
        <pc:chgData name="Susan Van Eyck" userId="662afd01-5edf-4fbb-b0e2-2ead5b38d415" providerId="ADAL" clId="{DDD55DA9-AA83-458D-8DEA-61425C32F6C1}" dt="2020-03-09T19:10:55.533" v="3248" actId="47"/>
        <pc:sldMkLst>
          <pc:docMk/>
          <pc:sldMk cId="1925061419" sldId="644"/>
        </pc:sldMkLst>
      </pc:sldChg>
      <pc:sldChg chg="add">
        <pc:chgData name="Susan Van Eyck" userId="662afd01-5edf-4fbb-b0e2-2ead5b38d415" providerId="ADAL" clId="{DDD55DA9-AA83-458D-8DEA-61425C32F6C1}" dt="2020-03-09T02:30:56.301" v="0" actId="22"/>
        <pc:sldMkLst>
          <pc:docMk/>
          <pc:sldMk cId="2183694389" sldId="645"/>
        </pc:sldMkLst>
      </pc:sldChg>
      <pc:sldChg chg="addSp delSp modSp add mod ord modAnim">
        <pc:chgData name="Susan Van Eyck" userId="662afd01-5edf-4fbb-b0e2-2ead5b38d415" providerId="ADAL" clId="{DDD55DA9-AA83-458D-8DEA-61425C32F6C1}" dt="2020-03-09T20:43:03.120" v="4891" actId="20577"/>
        <pc:sldMkLst>
          <pc:docMk/>
          <pc:sldMk cId="1200516813" sldId="646"/>
        </pc:sldMkLst>
        <pc:spChg chg="mod">
          <ac:chgData name="Susan Van Eyck" userId="662afd01-5edf-4fbb-b0e2-2ead5b38d415" providerId="ADAL" clId="{DDD55DA9-AA83-458D-8DEA-61425C32F6C1}" dt="2020-03-09T18:35:53.851" v="1978"/>
          <ac:spMkLst>
            <pc:docMk/>
            <pc:sldMk cId="1200516813" sldId="646"/>
            <ac:spMk id="2" creationId="{07E4135B-974F-46CE-8BD8-6335438F3B9C}"/>
          </ac:spMkLst>
        </pc:spChg>
        <pc:spChg chg="del">
          <ac:chgData name="Susan Van Eyck" userId="662afd01-5edf-4fbb-b0e2-2ead5b38d415" providerId="ADAL" clId="{DDD55DA9-AA83-458D-8DEA-61425C32F6C1}" dt="2020-03-09T18:34:38.512" v="1971"/>
          <ac:spMkLst>
            <pc:docMk/>
            <pc:sldMk cId="1200516813" sldId="646"/>
            <ac:spMk id="4" creationId="{E68A453A-922A-4CC2-9159-0C0899007DEA}"/>
          </ac:spMkLst>
        </pc:spChg>
        <pc:spChg chg="add del topLvl">
          <ac:chgData name="Susan Van Eyck" userId="662afd01-5edf-4fbb-b0e2-2ead5b38d415" providerId="ADAL" clId="{DDD55DA9-AA83-458D-8DEA-61425C32F6C1}" dt="2020-03-09T18:35:20.647" v="1975" actId="478"/>
          <ac:spMkLst>
            <pc:docMk/>
            <pc:sldMk cId="1200516813" sldId="646"/>
            <ac:spMk id="7" creationId="{80732ABC-2535-4C03-9083-F6931995FD60}"/>
          </ac:spMkLst>
        </pc:spChg>
        <pc:spChg chg="add del mod topLvl">
          <ac:chgData name="Susan Van Eyck" userId="662afd01-5edf-4fbb-b0e2-2ead5b38d415" providerId="ADAL" clId="{DDD55DA9-AA83-458D-8DEA-61425C32F6C1}" dt="2020-03-09T18:35:18.553" v="1974" actId="478"/>
          <ac:spMkLst>
            <pc:docMk/>
            <pc:sldMk cId="1200516813" sldId="646"/>
            <ac:spMk id="8" creationId="{AFE27461-044F-46E8-896C-17176E1130FE}"/>
          </ac:spMkLst>
        </pc:spChg>
        <pc:spChg chg="add mod">
          <ac:chgData name="Susan Van Eyck" userId="662afd01-5edf-4fbb-b0e2-2ead5b38d415" providerId="ADAL" clId="{DDD55DA9-AA83-458D-8DEA-61425C32F6C1}" dt="2020-03-09T18:36:57.533" v="2043" actId="1076"/>
          <ac:spMkLst>
            <pc:docMk/>
            <pc:sldMk cId="1200516813" sldId="646"/>
            <ac:spMk id="9" creationId="{FD5B940F-AD7B-42E3-9144-51410611BDFA}"/>
          </ac:spMkLst>
        </pc:spChg>
        <pc:spChg chg="add mod">
          <ac:chgData name="Susan Van Eyck" userId="662afd01-5edf-4fbb-b0e2-2ead5b38d415" providerId="ADAL" clId="{DDD55DA9-AA83-458D-8DEA-61425C32F6C1}" dt="2020-03-09T18:38:50.840" v="2071" actId="1076"/>
          <ac:spMkLst>
            <pc:docMk/>
            <pc:sldMk cId="1200516813" sldId="646"/>
            <ac:spMk id="10" creationId="{1229D1F1-EE7C-456E-9172-FE85C5D0379D}"/>
          </ac:spMkLst>
        </pc:spChg>
        <pc:spChg chg="add mod">
          <ac:chgData name="Susan Van Eyck" userId="662afd01-5edf-4fbb-b0e2-2ead5b38d415" providerId="ADAL" clId="{DDD55DA9-AA83-458D-8DEA-61425C32F6C1}" dt="2020-03-09T18:37:28.278" v="2048" actId="1076"/>
          <ac:spMkLst>
            <pc:docMk/>
            <pc:sldMk cId="1200516813" sldId="646"/>
            <ac:spMk id="11" creationId="{D00CF323-BDB7-4A1E-8427-8FF213A8CAF2}"/>
          </ac:spMkLst>
        </pc:spChg>
        <pc:spChg chg="add mod">
          <ac:chgData name="Susan Van Eyck" userId="662afd01-5edf-4fbb-b0e2-2ead5b38d415" providerId="ADAL" clId="{DDD55DA9-AA83-458D-8DEA-61425C32F6C1}" dt="2020-03-09T18:37:50.383" v="2051" actId="14100"/>
          <ac:spMkLst>
            <pc:docMk/>
            <pc:sldMk cId="1200516813" sldId="646"/>
            <ac:spMk id="15" creationId="{709A9B8E-9220-4A10-A496-058FB5D978A1}"/>
          </ac:spMkLst>
        </pc:spChg>
        <pc:spChg chg="add mod">
          <ac:chgData name="Susan Van Eyck" userId="662afd01-5edf-4fbb-b0e2-2ead5b38d415" providerId="ADAL" clId="{DDD55DA9-AA83-458D-8DEA-61425C32F6C1}" dt="2020-03-09T18:38:17.963" v="2058" actId="14100"/>
          <ac:spMkLst>
            <pc:docMk/>
            <pc:sldMk cId="1200516813" sldId="646"/>
            <ac:spMk id="19" creationId="{59F865FE-7ECA-4579-8E9F-F3C897DCD9FF}"/>
          </ac:spMkLst>
        </pc:spChg>
        <pc:grpChg chg="add del mod">
          <ac:chgData name="Susan Van Eyck" userId="662afd01-5edf-4fbb-b0e2-2ead5b38d415" providerId="ADAL" clId="{DDD55DA9-AA83-458D-8DEA-61425C32F6C1}" dt="2020-03-09T18:35:18.553" v="1974" actId="478"/>
          <ac:grpSpMkLst>
            <pc:docMk/>
            <pc:sldMk cId="1200516813" sldId="646"/>
            <ac:grpSpMk id="6" creationId="{4796A418-F5CB-4E83-948D-C22C33AC4853}"/>
          </ac:grpSpMkLst>
        </pc:grpChg>
        <pc:graphicFrameChg chg="add mod">
          <ac:chgData name="Susan Van Eyck" userId="662afd01-5edf-4fbb-b0e2-2ead5b38d415" providerId="ADAL" clId="{DDD55DA9-AA83-458D-8DEA-61425C32F6C1}" dt="2020-03-09T20:43:03.120" v="4891" actId="20577"/>
          <ac:graphicFrameMkLst>
            <pc:docMk/>
            <pc:sldMk cId="1200516813" sldId="646"/>
            <ac:graphicFrameMk id="13" creationId="{08096E22-51FB-4FCA-9558-201819AB8825}"/>
          </ac:graphicFrameMkLst>
        </pc:graphicFrameChg>
        <pc:picChg chg="add mod">
          <ac:chgData name="Susan Van Eyck" userId="662afd01-5edf-4fbb-b0e2-2ead5b38d415" providerId="ADAL" clId="{DDD55DA9-AA83-458D-8DEA-61425C32F6C1}" dt="2020-03-09T19:19:54.987" v="3459" actId="1076"/>
          <ac:picMkLst>
            <pc:docMk/>
            <pc:sldMk cId="1200516813" sldId="646"/>
            <ac:picMk id="5" creationId="{FC0FDF11-0B5C-436F-8983-A28D443665BF}"/>
          </ac:picMkLst>
        </pc:picChg>
        <pc:picChg chg="add del">
          <ac:chgData name="Susan Van Eyck" userId="662afd01-5edf-4fbb-b0e2-2ead5b38d415" providerId="ADAL" clId="{DDD55DA9-AA83-458D-8DEA-61425C32F6C1}" dt="2020-03-09T18:41:51.295" v="2098" actId="478"/>
          <ac:picMkLst>
            <pc:docMk/>
            <pc:sldMk cId="1200516813" sldId="646"/>
            <ac:picMk id="20" creationId="{2916FE3A-4AAE-459F-8B6D-4C3812CC448A}"/>
          </ac:picMkLst>
        </pc:picChg>
        <pc:cxnChg chg="add mod">
          <ac:chgData name="Susan Van Eyck" userId="662afd01-5edf-4fbb-b0e2-2ead5b38d415" providerId="ADAL" clId="{DDD55DA9-AA83-458D-8DEA-61425C32F6C1}" dt="2020-03-09T18:38:02.880" v="2054" actId="14100"/>
          <ac:cxnSpMkLst>
            <pc:docMk/>
            <pc:sldMk cId="1200516813" sldId="646"/>
            <ac:cxnSpMk id="12" creationId="{96326B99-FB1A-4EAB-8F80-87817A9F4163}"/>
          </ac:cxnSpMkLst>
        </pc:cxnChg>
      </pc:sldChg>
      <pc:sldChg chg="add del">
        <pc:chgData name="Susan Van Eyck" userId="662afd01-5edf-4fbb-b0e2-2ead5b38d415" providerId="ADAL" clId="{DDD55DA9-AA83-458D-8DEA-61425C32F6C1}" dt="2020-03-09T18:34:04.957" v="1967" actId="47"/>
        <pc:sldMkLst>
          <pc:docMk/>
          <pc:sldMk cId="3890324741" sldId="646"/>
        </pc:sldMkLst>
      </pc:sldChg>
      <pc:sldChg chg="add">
        <pc:chgData name="Susan Van Eyck" userId="662afd01-5edf-4fbb-b0e2-2ead5b38d415" providerId="ADAL" clId="{DDD55DA9-AA83-458D-8DEA-61425C32F6C1}" dt="2020-03-09T19:30:52.371" v="3614" actId="22"/>
        <pc:sldMkLst>
          <pc:docMk/>
          <pc:sldMk cId="3818398668" sldId="647"/>
        </pc:sldMkLst>
      </pc:sldChg>
      <pc:sldChg chg="add modNotesTx">
        <pc:chgData name="Susan Van Eyck" userId="662afd01-5edf-4fbb-b0e2-2ead5b38d415" providerId="ADAL" clId="{DDD55DA9-AA83-458D-8DEA-61425C32F6C1}" dt="2020-03-09T19:57:26.882" v="4137" actId="20577"/>
        <pc:sldMkLst>
          <pc:docMk/>
          <pc:sldMk cId="784210373" sldId="648"/>
        </pc:sldMkLst>
      </pc:sldChg>
      <pc:sldChg chg="add modNotesTx">
        <pc:chgData name="Susan Van Eyck" userId="662afd01-5edf-4fbb-b0e2-2ead5b38d415" providerId="ADAL" clId="{DDD55DA9-AA83-458D-8DEA-61425C32F6C1}" dt="2020-03-09T19:58:03.495" v="4200" actId="6549"/>
        <pc:sldMkLst>
          <pc:docMk/>
          <pc:sldMk cId="1630228123" sldId="649"/>
        </pc:sldMkLst>
      </pc:sldChg>
      <pc:sldChg chg="addSp modSp add mod setBg">
        <pc:chgData name="Susan Van Eyck" userId="662afd01-5edf-4fbb-b0e2-2ead5b38d415" providerId="ADAL" clId="{DDD55DA9-AA83-458D-8DEA-61425C32F6C1}" dt="2020-03-09T19:38:48.830" v="3756"/>
        <pc:sldMkLst>
          <pc:docMk/>
          <pc:sldMk cId="3324468482" sldId="650"/>
        </pc:sldMkLst>
        <pc:spChg chg="mod">
          <ac:chgData name="Susan Van Eyck" userId="662afd01-5edf-4fbb-b0e2-2ead5b38d415" providerId="ADAL" clId="{DDD55DA9-AA83-458D-8DEA-61425C32F6C1}" dt="2020-03-09T19:32:46.716" v="3715" actId="20577"/>
          <ac:spMkLst>
            <pc:docMk/>
            <pc:sldMk cId="3324468482" sldId="650"/>
            <ac:spMk id="2" creationId="{49BCA6EC-110E-4A16-968B-7F60265D4AD1}"/>
          </ac:spMkLst>
        </pc:spChg>
        <pc:picChg chg="add mod modCrop">
          <ac:chgData name="Susan Van Eyck" userId="662afd01-5edf-4fbb-b0e2-2ead5b38d415" providerId="ADAL" clId="{DDD55DA9-AA83-458D-8DEA-61425C32F6C1}" dt="2020-03-09T19:37:54.603" v="3754" actId="1038"/>
          <ac:picMkLst>
            <pc:docMk/>
            <pc:sldMk cId="3324468482" sldId="650"/>
            <ac:picMk id="3" creationId="{48B5CCB5-87BA-45F8-822B-61D3590A500B}"/>
          </ac:picMkLst>
        </pc:picChg>
        <pc:picChg chg="add mod modCrop">
          <ac:chgData name="Susan Van Eyck" userId="662afd01-5edf-4fbb-b0e2-2ead5b38d415" providerId="ADAL" clId="{DDD55DA9-AA83-458D-8DEA-61425C32F6C1}" dt="2020-03-09T19:37:54.603" v="3754" actId="1038"/>
          <ac:picMkLst>
            <pc:docMk/>
            <pc:sldMk cId="3324468482" sldId="650"/>
            <ac:picMk id="4" creationId="{30689CD2-1AD7-4266-A665-5A729CE55011}"/>
          </ac:picMkLst>
        </pc:picChg>
      </pc:sldChg>
      <pc:sldChg chg="addSp delSp modSp add del mod">
        <pc:chgData name="Susan Van Eyck" userId="662afd01-5edf-4fbb-b0e2-2ead5b38d415" providerId="ADAL" clId="{DDD55DA9-AA83-458D-8DEA-61425C32F6C1}" dt="2020-03-10T15:19:14.831" v="8213" actId="47"/>
        <pc:sldMkLst>
          <pc:docMk/>
          <pc:sldMk cId="813377667" sldId="651"/>
        </pc:sldMkLst>
        <pc:spChg chg="del mod">
          <ac:chgData name="Susan Van Eyck" userId="662afd01-5edf-4fbb-b0e2-2ead5b38d415" providerId="ADAL" clId="{DDD55DA9-AA83-458D-8DEA-61425C32F6C1}" dt="2020-03-10T15:18:16.157" v="8196" actId="12084"/>
          <ac:spMkLst>
            <pc:docMk/>
            <pc:sldMk cId="813377667" sldId="651"/>
            <ac:spMk id="3" creationId="{A956EE45-72DA-4EA8-955C-E581131F7D76}"/>
          </ac:spMkLst>
        </pc:spChg>
        <pc:graphicFrameChg chg="add mod">
          <ac:chgData name="Susan Van Eyck" userId="662afd01-5edf-4fbb-b0e2-2ead5b38d415" providerId="ADAL" clId="{DDD55DA9-AA83-458D-8DEA-61425C32F6C1}" dt="2020-03-10T15:18:45.801" v="8212"/>
          <ac:graphicFrameMkLst>
            <pc:docMk/>
            <pc:sldMk cId="813377667" sldId="651"/>
            <ac:graphicFrameMk id="5" creationId="{81E82241-0F41-4767-8D79-757200E92D45}"/>
          </ac:graphicFrameMkLst>
        </pc:graphicFrameChg>
      </pc:sldChg>
      <pc:sldChg chg="add modNotesTx">
        <pc:chgData name="Susan Van Eyck" userId="662afd01-5edf-4fbb-b0e2-2ead5b38d415" providerId="ADAL" clId="{DDD55DA9-AA83-458D-8DEA-61425C32F6C1}" dt="2020-03-10T18:12:08.076" v="8431" actId="20577"/>
        <pc:sldMkLst>
          <pc:docMk/>
          <pc:sldMk cId="2059970586" sldId="652"/>
        </pc:sldMkLst>
      </pc:sldChg>
    </pc:docChg>
  </pc:docChgLst>
  <pc:docChgLst>
    <pc:chgData name="Batuhan Yildiz" userId="90f344fc-4655-4923-aeaf-697bba59c1a7" providerId="ADAL" clId="{4C045081-F125-44DD-B373-463A643458C3}"/>
    <pc:docChg chg="modSld">
      <pc:chgData name="Batuhan Yildiz" userId="90f344fc-4655-4923-aeaf-697bba59c1a7" providerId="ADAL" clId="{4C045081-F125-44DD-B373-463A643458C3}" dt="2020-06-16T00:24:05.524" v="0" actId="20577"/>
      <pc:docMkLst>
        <pc:docMk/>
      </pc:docMkLst>
      <pc:sldChg chg="modSp">
        <pc:chgData name="Batuhan Yildiz" userId="90f344fc-4655-4923-aeaf-697bba59c1a7" providerId="ADAL" clId="{4C045081-F125-44DD-B373-463A643458C3}" dt="2020-06-16T00:24:05.524" v="0" actId="20577"/>
        <pc:sldMkLst>
          <pc:docMk/>
          <pc:sldMk cId="2531563089" sldId="620"/>
        </pc:sldMkLst>
        <pc:graphicFrameChg chg="mod">
          <ac:chgData name="Batuhan Yildiz" userId="90f344fc-4655-4923-aeaf-697bba59c1a7" providerId="ADAL" clId="{4C045081-F125-44DD-B373-463A643458C3}" dt="2020-06-16T00:24:05.524" v="0" actId="20577"/>
          <ac:graphicFrameMkLst>
            <pc:docMk/>
            <pc:sldMk cId="2531563089" sldId="620"/>
            <ac:graphicFrameMk id="6" creationId="{5B8AE85A-49AB-4B7D-B64D-F4C588116D35}"/>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1E6C2E-F468-4922-ADFA-CB176D57AE5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F60A2FDB-84A2-4D65-B284-BE8B17AF4D61}">
      <dgm:prSet/>
      <dgm:spPr/>
      <dgm:t>
        <a:bodyPr/>
        <a:lstStyle/>
        <a:p>
          <a:r>
            <a:rPr lang="en-US" baseline="0" dirty="0"/>
            <a:t>A pool of memory used to store query execution plans</a:t>
          </a:r>
          <a:endParaRPr lang="en-US" dirty="0"/>
        </a:p>
      </dgm:t>
    </dgm:pt>
    <dgm:pt modelId="{D6EE3DE2-A97D-4917-B18A-CCA95C933C43}" type="parTrans" cxnId="{380BA6B1-E891-4605-B5B8-25693536993E}">
      <dgm:prSet/>
      <dgm:spPr/>
      <dgm:t>
        <a:bodyPr/>
        <a:lstStyle/>
        <a:p>
          <a:endParaRPr lang="en-US"/>
        </a:p>
      </dgm:t>
    </dgm:pt>
    <dgm:pt modelId="{E70751FC-F60B-477F-ADBB-45FF4F807ED8}" type="sibTrans" cxnId="{380BA6B1-E891-4605-B5B8-25693536993E}">
      <dgm:prSet/>
      <dgm:spPr/>
      <dgm:t>
        <a:bodyPr/>
        <a:lstStyle/>
        <a:p>
          <a:endParaRPr lang="en-US"/>
        </a:p>
      </dgm:t>
    </dgm:pt>
    <dgm:pt modelId="{BD6C200C-C4FC-46BD-B87B-908CB172E70F}">
      <dgm:prSet/>
      <dgm:spPr/>
      <dgm:t>
        <a:bodyPr/>
        <a:lstStyle/>
        <a:p>
          <a:r>
            <a:rPr lang="en-US" dirty="0"/>
            <a:t>Used by a</a:t>
          </a:r>
          <a:r>
            <a:rPr lang="en-US" baseline="0" dirty="0"/>
            <a:t>ll databases in a SQL Server instance</a:t>
          </a:r>
          <a:endParaRPr lang="en-US" dirty="0"/>
        </a:p>
      </dgm:t>
    </dgm:pt>
    <dgm:pt modelId="{D401E71A-F3A9-452D-9E1C-F4A3113BC68D}" type="parTrans" cxnId="{9B991698-142C-4789-B113-CC29E12787DB}">
      <dgm:prSet/>
      <dgm:spPr/>
      <dgm:t>
        <a:bodyPr/>
        <a:lstStyle/>
        <a:p>
          <a:endParaRPr lang="en-US"/>
        </a:p>
      </dgm:t>
    </dgm:pt>
    <dgm:pt modelId="{4C8F42BF-3875-4313-9445-C6F3E940407A}" type="sibTrans" cxnId="{9B991698-142C-4789-B113-CC29E12787DB}">
      <dgm:prSet/>
      <dgm:spPr/>
      <dgm:t>
        <a:bodyPr/>
        <a:lstStyle/>
        <a:p>
          <a:endParaRPr lang="en-US"/>
        </a:p>
      </dgm:t>
    </dgm:pt>
    <dgm:pt modelId="{23282C6B-4684-4713-9146-6C30E2F49654}">
      <dgm:prSet/>
      <dgm:spPr/>
      <dgm:t>
        <a:bodyPr/>
        <a:lstStyle/>
        <a:p>
          <a:r>
            <a:rPr lang="en-US" dirty="0"/>
            <a:t>Exists to a</a:t>
          </a:r>
          <a:r>
            <a:rPr lang="en-US" baseline="0" dirty="0"/>
            <a:t>void repeated optimization and compilation</a:t>
          </a:r>
          <a:endParaRPr lang="en-US" dirty="0"/>
        </a:p>
      </dgm:t>
    </dgm:pt>
    <dgm:pt modelId="{5279FD8E-15ED-4B63-AA41-8DE6FC6CD742}" type="parTrans" cxnId="{B7C74E9E-8780-4168-999A-8E09499294F9}">
      <dgm:prSet/>
      <dgm:spPr/>
      <dgm:t>
        <a:bodyPr/>
        <a:lstStyle/>
        <a:p>
          <a:endParaRPr lang="en-US"/>
        </a:p>
      </dgm:t>
    </dgm:pt>
    <dgm:pt modelId="{61545D51-D75D-4C3E-AC8E-63787E84D1F8}" type="sibTrans" cxnId="{B7C74E9E-8780-4168-999A-8E09499294F9}">
      <dgm:prSet/>
      <dgm:spPr/>
      <dgm:t>
        <a:bodyPr/>
        <a:lstStyle/>
        <a:p>
          <a:endParaRPr lang="en-US"/>
        </a:p>
      </dgm:t>
    </dgm:pt>
    <dgm:pt modelId="{48F32901-B2CA-4180-8606-7BC8E77681BB}">
      <dgm:prSet/>
      <dgm:spPr/>
      <dgm:t>
        <a:bodyPr/>
        <a:lstStyle/>
        <a:p>
          <a:r>
            <a:rPr lang="en-US" dirty="0"/>
            <a:t>Size and contents </a:t>
          </a:r>
          <a:r>
            <a:rPr lang="en-US" baseline="0" dirty="0"/>
            <a:t>vary over time.</a:t>
          </a:r>
          <a:endParaRPr lang="en-US" dirty="0"/>
        </a:p>
      </dgm:t>
    </dgm:pt>
    <dgm:pt modelId="{3A5328FF-37CC-4A5D-AF0E-7AC975C9FE70}" type="parTrans" cxnId="{BC98D9AC-0042-472B-B261-55B17655253B}">
      <dgm:prSet/>
      <dgm:spPr/>
      <dgm:t>
        <a:bodyPr/>
        <a:lstStyle/>
        <a:p>
          <a:endParaRPr lang="en-US"/>
        </a:p>
      </dgm:t>
    </dgm:pt>
    <dgm:pt modelId="{BE469B66-09CC-4875-AA82-62F1E701D310}" type="sibTrans" cxnId="{BC98D9AC-0042-472B-B261-55B17655253B}">
      <dgm:prSet/>
      <dgm:spPr/>
      <dgm:t>
        <a:bodyPr/>
        <a:lstStyle/>
        <a:p>
          <a:endParaRPr lang="en-US"/>
        </a:p>
      </dgm:t>
    </dgm:pt>
    <dgm:pt modelId="{F59B03AB-16A4-4312-857B-13E39B969AB2}">
      <dgm:prSet/>
      <dgm:spPr/>
      <dgm:t>
        <a:bodyPr/>
        <a:lstStyle/>
        <a:p>
          <a:r>
            <a:rPr lang="en-US" baseline="0" dirty="0"/>
            <a:t>Reuse of reduce optimization and compilation costs</a:t>
          </a:r>
          <a:endParaRPr lang="en-US" dirty="0"/>
        </a:p>
      </dgm:t>
    </dgm:pt>
    <dgm:pt modelId="{FFB270C7-AE39-4FCA-BED7-6D43A41AC593}" type="parTrans" cxnId="{4AD44B15-023A-41DA-AB60-7F02A1BB1AF6}">
      <dgm:prSet/>
      <dgm:spPr/>
      <dgm:t>
        <a:bodyPr/>
        <a:lstStyle/>
        <a:p>
          <a:endParaRPr lang="en-US"/>
        </a:p>
      </dgm:t>
    </dgm:pt>
    <dgm:pt modelId="{D7782E6E-C63E-4E7A-B803-F7A6A0474DF2}" type="sibTrans" cxnId="{4AD44B15-023A-41DA-AB60-7F02A1BB1AF6}">
      <dgm:prSet/>
      <dgm:spPr/>
      <dgm:t>
        <a:bodyPr/>
        <a:lstStyle/>
        <a:p>
          <a:endParaRPr lang="en-US"/>
        </a:p>
      </dgm:t>
    </dgm:pt>
    <dgm:pt modelId="{D1AA5BB3-2C08-4467-A3D2-69DA5CBBACE8}" type="pres">
      <dgm:prSet presAssocID="{791E6C2E-F468-4922-ADFA-CB176D57AE56}" presName="linear" presStyleCnt="0">
        <dgm:presLayoutVars>
          <dgm:animLvl val="lvl"/>
          <dgm:resizeHandles val="exact"/>
        </dgm:presLayoutVars>
      </dgm:prSet>
      <dgm:spPr/>
    </dgm:pt>
    <dgm:pt modelId="{BBDD2BDE-B2EC-47CA-A973-8EEA2AAF8040}" type="pres">
      <dgm:prSet presAssocID="{F60A2FDB-84A2-4D65-B284-BE8B17AF4D61}" presName="parentText" presStyleLbl="node1" presStyleIdx="0" presStyleCnt="5">
        <dgm:presLayoutVars>
          <dgm:chMax val="0"/>
          <dgm:bulletEnabled val="1"/>
        </dgm:presLayoutVars>
      </dgm:prSet>
      <dgm:spPr/>
    </dgm:pt>
    <dgm:pt modelId="{E2B8A9DD-08AD-46A8-BF4A-CA6064B6F99F}" type="pres">
      <dgm:prSet presAssocID="{E70751FC-F60B-477F-ADBB-45FF4F807ED8}" presName="spacer" presStyleCnt="0"/>
      <dgm:spPr/>
    </dgm:pt>
    <dgm:pt modelId="{4ABB565F-2368-4EC2-BC8B-1EFFACA85D9B}" type="pres">
      <dgm:prSet presAssocID="{BD6C200C-C4FC-46BD-B87B-908CB172E70F}" presName="parentText" presStyleLbl="node1" presStyleIdx="1" presStyleCnt="5">
        <dgm:presLayoutVars>
          <dgm:chMax val="0"/>
          <dgm:bulletEnabled val="1"/>
        </dgm:presLayoutVars>
      </dgm:prSet>
      <dgm:spPr/>
    </dgm:pt>
    <dgm:pt modelId="{8E2E4250-10C0-4017-8403-8EFE834AE332}" type="pres">
      <dgm:prSet presAssocID="{4C8F42BF-3875-4313-9445-C6F3E940407A}" presName="spacer" presStyleCnt="0"/>
      <dgm:spPr/>
    </dgm:pt>
    <dgm:pt modelId="{5F9F3BA5-18FC-4D9C-9847-C2707B579669}" type="pres">
      <dgm:prSet presAssocID="{23282C6B-4684-4713-9146-6C30E2F49654}" presName="parentText" presStyleLbl="node1" presStyleIdx="2" presStyleCnt="5">
        <dgm:presLayoutVars>
          <dgm:chMax val="0"/>
          <dgm:bulletEnabled val="1"/>
        </dgm:presLayoutVars>
      </dgm:prSet>
      <dgm:spPr/>
    </dgm:pt>
    <dgm:pt modelId="{41EA7D2A-7F94-4C3D-BC2E-A215CE2EBB44}" type="pres">
      <dgm:prSet presAssocID="{61545D51-D75D-4C3E-AC8E-63787E84D1F8}" presName="spacer" presStyleCnt="0"/>
      <dgm:spPr/>
    </dgm:pt>
    <dgm:pt modelId="{DD1AFBFE-2110-4945-A824-79A8A07F70E2}" type="pres">
      <dgm:prSet presAssocID="{F59B03AB-16A4-4312-857B-13E39B969AB2}" presName="parentText" presStyleLbl="node1" presStyleIdx="3" presStyleCnt="5">
        <dgm:presLayoutVars>
          <dgm:chMax val="0"/>
          <dgm:bulletEnabled val="1"/>
        </dgm:presLayoutVars>
      </dgm:prSet>
      <dgm:spPr/>
    </dgm:pt>
    <dgm:pt modelId="{4AC6AD15-0B98-4C9D-92E0-7C79BF9653EF}" type="pres">
      <dgm:prSet presAssocID="{D7782E6E-C63E-4E7A-B803-F7A6A0474DF2}" presName="spacer" presStyleCnt="0"/>
      <dgm:spPr/>
    </dgm:pt>
    <dgm:pt modelId="{78E01664-1A39-4D3E-A01C-C8D5235F5F8F}" type="pres">
      <dgm:prSet presAssocID="{48F32901-B2CA-4180-8606-7BC8E77681BB}" presName="parentText" presStyleLbl="node1" presStyleIdx="4" presStyleCnt="5">
        <dgm:presLayoutVars>
          <dgm:chMax val="0"/>
          <dgm:bulletEnabled val="1"/>
        </dgm:presLayoutVars>
      </dgm:prSet>
      <dgm:spPr/>
    </dgm:pt>
  </dgm:ptLst>
  <dgm:cxnLst>
    <dgm:cxn modelId="{73553110-EAD8-46FE-B4B2-7803EEBC1EB7}" type="presOf" srcId="{F59B03AB-16A4-4312-857B-13E39B969AB2}" destId="{DD1AFBFE-2110-4945-A824-79A8A07F70E2}" srcOrd="0" destOrd="0" presId="urn:microsoft.com/office/officeart/2005/8/layout/vList2"/>
    <dgm:cxn modelId="{4AD44B15-023A-41DA-AB60-7F02A1BB1AF6}" srcId="{791E6C2E-F468-4922-ADFA-CB176D57AE56}" destId="{F59B03AB-16A4-4312-857B-13E39B969AB2}" srcOrd="3" destOrd="0" parTransId="{FFB270C7-AE39-4FCA-BED7-6D43A41AC593}" sibTransId="{D7782E6E-C63E-4E7A-B803-F7A6A0474DF2}"/>
    <dgm:cxn modelId="{FEE78A48-79BD-45B7-A9C3-20D4BCA8F4ED}" type="presOf" srcId="{BD6C200C-C4FC-46BD-B87B-908CB172E70F}" destId="{4ABB565F-2368-4EC2-BC8B-1EFFACA85D9B}" srcOrd="0" destOrd="0" presId="urn:microsoft.com/office/officeart/2005/8/layout/vList2"/>
    <dgm:cxn modelId="{2F704B8D-1ED8-4750-ACA0-CBB3F1EB071B}" type="presOf" srcId="{23282C6B-4684-4713-9146-6C30E2F49654}" destId="{5F9F3BA5-18FC-4D9C-9847-C2707B579669}" srcOrd="0" destOrd="0" presId="urn:microsoft.com/office/officeart/2005/8/layout/vList2"/>
    <dgm:cxn modelId="{9B991698-142C-4789-B113-CC29E12787DB}" srcId="{791E6C2E-F468-4922-ADFA-CB176D57AE56}" destId="{BD6C200C-C4FC-46BD-B87B-908CB172E70F}" srcOrd="1" destOrd="0" parTransId="{D401E71A-F3A9-452D-9E1C-F4A3113BC68D}" sibTransId="{4C8F42BF-3875-4313-9445-C6F3E940407A}"/>
    <dgm:cxn modelId="{B7C74E9E-8780-4168-999A-8E09499294F9}" srcId="{791E6C2E-F468-4922-ADFA-CB176D57AE56}" destId="{23282C6B-4684-4713-9146-6C30E2F49654}" srcOrd="2" destOrd="0" parTransId="{5279FD8E-15ED-4B63-AA41-8DE6FC6CD742}" sibTransId="{61545D51-D75D-4C3E-AC8E-63787E84D1F8}"/>
    <dgm:cxn modelId="{FFF422AA-1462-4356-9E7D-D71C989E833D}" type="presOf" srcId="{48F32901-B2CA-4180-8606-7BC8E77681BB}" destId="{78E01664-1A39-4D3E-A01C-C8D5235F5F8F}" srcOrd="0" destOrd="0" presId="urn:microsoft.com/office/officeart/2005/8/layout/vList2"/>
    <dgm:cxn modelId="{A07CD6AC-640A-417B-B291-D675FC6AD484}" type="presOf" srcId="{F60A2FDB-84A2-4D65-B284-BE8B17AF4D61}" destId="{BBDD2BDE-B2EC-47CA-A973-8EEA2AAF8040}" srcOrd="0" destOrd="0" presId="urn:microsoft.com/office/officeart/2005/8/layout/vList2"/>
    <dgm:cxn modelId="{BC98D9AC-0042-472B-B261-55B17655253B}" srcId="{791E6C2E-F468-4922-ADFA-CB176D57AE56}" destId="{48F32901-B2CA-4180-8606-7BC8E77681BB}" srcOrd="4" destOrd="0" parTransId="{3A5328FF-37CC-4A5D-AF0E-7AC975C9FE70}" sibTransId="{BE469B66-09CC-4875-AA82-62F1E701D310}"/>
    <dgm:cxn modelId="{380BA6B1-E891-4605-B5B8-25693536993E}" srcId="{791E6C2E-F468-4922-ADFA-CB176D57AE56}" destId="{F60A2FDB-84A2-4D65-B284-BE8B17AF4D61}" srcOrd="0" destOrd="0" parTransId="{D6EE3DE2-A97D-4917-B18A-CCA95C933C43}" sibTransId="{E70751FC-F60B-477F-ADBB-45FF4F807ED8}"/>
    <dgm:cxn modelId="{58FCD4CA-4096-45DC-AEBC-B49D1CEDF47A}" type="presOf" srcId="{791E6C2E-F468-4922-ADFA-CB176D57AE56}" destId="{D1AA5BB3-2C08-4467-A3D2-69DA5CBBACE8}" srcOrd="0" destOrd="0" presId="urn:microsoft.com/office/officeart/2005/8/layout/vList2"/>
    <dgm:cxn modelId="{2026123A-B132-44A4-8EBD-DF8B41254417}" type="presParOf" srcId="{D1AA5BB3-2C08-4467-A3D2-69DA5CBBACE8}" destId="{BBDD2BDE-B2EC-47CA-A973-8EEA2AAF8040}" srcOrd="0" destOrd="0" presId="urn:microsoft.com/office/officeart/2005/8/layout/vList2"/>
    <dgm:cxn modelId="{2493343C-7899-4705-A92C-048EC0264FAF}" type="presParOf" srcId="{D1AA5BB3-2C08-4467-A3D2-69DA5CBBACE8}" destId="{E2B8A9DD-08AD-46A8-BF4A-CA6064B6F99F}" srcOrd="1" destOrd="0" presId="urn:microsoft.com/office/officeart/2005/8/layout/vList2"/>
    <dgm:cxn modelId="{25C74FB3-2F45-4E71-9EEA-96EE919AD827}" type="presParOf" srcId="{D1AA5BB3-2C08-4467-A3D2-69DA5CBBACE8}" destId="{4ABB565F-2368-4EC2-BC8B-1EFFACA85D9B}" srcOrd="2" destOrd="0" presId="urn:microsoft.com/office/officeart/2005/8/layout/vList2"/>
    <dgm:cxn modelId="{5EC80700-CA3A-4334-955F-456F004E1AB0}" type="presParOf" srcId="{D1AA5BB3-2C08-4467-A3D2-69DA5CBBACE8}" destId="{8E2E4250-10C0-4017-8403-8EFE834AE332}" srcOrd="3" destOrd="0" presId="urn:microsoft.com/office/officeart/2005/8/layout/vList2"/>
    <dgm:cxn modelId="{CC2D0064-C417-481E-B4A3-9A5E824565D4}" type="presParOf" srcId="{D1AA5BB3-2C08-4467-A3D2-69DA5CBBACE8}" destId="{5F9F3BA5-18FC-4D9C-9847-C2707B579669}" srcOrd="4" destOrd="0" presId="urn:microsoft.com/office/officeart/2005/8/layout/vList2"/>
    <dgm:cxn modelId="{C2E38176-39E8-4D69-A956-FD4C3C8A1E87}" type="presParOf" srcId="{D1AA5BB3-2C08-4467-A3D2-69DA5CBBACE8}" destId="{41EA7D2A-7F94-4C3D-BC2E-A215CE2EBB44}" srcOrd="5" destOrd="0" presId="urn:microsoft.com/office/officeart/2005/8/layout/vList2"/>
    <dgm:cxn modelId="{E682DD19-6F22-4E19-A4E8-15DDB707A52A}" type="presParOf" srcId="{D1AA5BB3-2C08-4467-A3D2-69DA5CBBACE8}" destId="{DD1AFBFE-2110-4945-A824-79A8A07F70E2}" srcOrd="6" destOrd="0" presId="urn:microsoft.com/office/officeart/2005/8/layout/vList2"/>
    <dgm:cxn modelId="{D89B1DAB-3400-455D-A5FB-97A91E9B2FE0}" type="presParOf" srcId="{D1AA5BB3-2C08-4467-A3D2-69DA5CBBACE8}" destId="{4AC6AD15-0B98-4C9D-92E0-7C79BF9653EF}" srcOrd="7" destOrd="0" presId="urn:microsoft.com/office/officeart/2005/8/layout/vList2"/>
    <dgm:cxn modelId="{7F1D4686-09F3-4BF7-A726-7FE94A8C64A7}" type="presParOf" srcId="{D1AA5BB3-2C08-4467-A3D2-69DA5CBBACE8}" destId="{78E01664-1A39-4D3E-A01C-C8D5235F5F8F}"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2BB4C4D-6A2A-4D52-A7B2-3DD1BC67C1AE}"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02C37799-61AD-4F0A-A12B-784AB963A475}">
      <dgm:prSet custT="1"/>
      <dgm:spPr/>
      <dgm:t>
        <a:bodyPr/>
        <a:lstStyle/>
        <a:p>
          <a:r>
            <a:rPr lang="en-US" sz="2200" baseline="0" dirty="0"/>
            <a:t>Improved performance as reuse saves time and CPU</a:t>
          </a:r>
          <a:endParaRPr lang="en-US" sz="2200" dirty="0"/>
        </a:p>
      </dgm:t>
    </dgm:pt>
    <dgm:pt modelId="{6DAD55D5-C023-4FC0-863B-DF551DE12024}" type="parTrans" cxnId="{00497EF6-086E-40D8-802A-090EE237E1D8}">
      <dgm:prSet/>
      <dgm:spPr/>
      <dgm:t>
        <a:bodyPr/>
        <a:lstStyle/>
        <a:p>
          <a:endParaRPr lang="en-US"/>
        </a:p>
      </dgm:t>
    </dgm:pt>
    <dgm:pt modelId="{E727E3E4-ACBC-4316-B42C-00C68F3797F0}" type="sibTrans" cxnId="{00497EF6-086E-40D8-802A-090EE237E1D8}">
      <dgm:prSet/>
      <dgm:spPr/>
      <dgm:t>
        <a:bodyPr/>
        <a:lstStyle/>
        <a:p>
          <a:endParaRPr lang="en-US"/>
        </a:p>
      </dgm:t>
    </dgm:pt>
    <dgm:pt modelId="{64AC0A19-F9CB-43B5-8461-FBC9A8196FCC}">
      <dgm:prSet/>
      <dgm:spPr/>
      <dgm:t>
        <a:bodyPr/>
        <a:lstStyle/>
        <a:p>
          <a:r>
            <a:rPr lang="en-US" baseline="0" dirty="0"/>
            <a:t>Degraded performance when reused plan is not optimal for all parameter values</a:t>
          </a:r>
          <a:endParaRPr lang="en-US" dirty="0"/>
        </a:p>
      </dgm:t>
    </dgm:pt>
    <dgm:pt modelId="{68A19E74-60ED-47E0-A4A4-E39197735101}" type="sibTrans" cxnId="{98EAA028-F102-4E5F-8483-C37187F1D2FB}">
      <dgm:prSet/>
      <dgm:spPr/>
      <dgm:t>
        <a:bodyPr/>
        <a:lstStyle/>
        <a:p>
          <a:endParaRPr lang="en-US"/>
        </a:p>
      </dgm:t>
    </dgm:pt>
    <dgm:pt modelId="{EA06E01D-77CF-4997-857D-D00B73698F49}" type="parTrans" cxnId="{98EAA028-F102-4E5F-8483-C37187F1D2FB}">
      <dgm:prSet/>
      <dgm:spPr/>
      <dgm:t>
        <a:bodyPr/>
        <a:lstStyle/>
        <a:p>
          <a:endParaRPr lang="en-US"/>
        </a:p>
      </dgm:t>
    </dgm:pt>
    <dgm:pt modelId="{66A0F6DE-DD9E-4924-B806-5E7747BA683D}">
      <dgm:prSet custT="1"/>
      <dgm:spPr/>
      <dgm:t>
        <a:bodyPr/>
        <a:lstStyle/>
        <a:p>
          <a:r>
            <a:rPr lang="en-US" sz="2400" dirty="0"/>
            <a:t>Benefit</a:t>
          </a:r>
        </a:p>
      </dgm:t>
    </dgm:pt>
    <dgm:pt modelId="{B85E5AA6-F03B-4BB0-8038-7E1B56E21362}" type="parTrans" cxnId="{138E2403-BE4B-44AB-BB7C-1DB0C2FD55E1}">
      <dgm:prSet/>
      <dgm:spPr/>
      <dgm:t>
        <a:bodyPr/>
        <a:lstStyle/>
        <a:p>
          <a:endParaRPr lang="en-US"/>
        </a:p>
      </dgm:t>
    </dgm:pt>
    <dgm:pt modelId="{72FE561F-D1D7-4CA9-B499-BA8DE3B5DA43}" type="sibTrans" cxnId="{138E2403-BE4B-44AB-BB7C-1DB0C2FD55E1}">
      <dgm:prSet/>
      <dgm:spPr/>
      <dgm:t>
        <a:bodyPr/>
        <a:lstStyle/>
        <a:p>
          <a:endParaRPr lang="en-US"/>
        </a:p>
      </dgm:t>
    </dgm:pt>
    <dgm:pt modelId="{EFA8FBAE-5BD2-47B9-AB4F-60BD9E3C3F30}">
      <dgm:prSet custT="1"/>
      <dgm:spPr/>
      <dgm:t>
        <a:bodyPr/>
        <a:lstStyle/>
        <a:p>
          <a:r>
            <a:rPr lang="en-US" sz="2400" dirty="0"/>
            <a:t>Drawback</a:t>
          </a:r>
        </a:p>
      </dgm:t>
    </dgm:pt>
    <dgm:pt modelId="{95DB631C-2D3F-41E6-A363-B0E9471AC120}" type="parTrans" cxnId="{E0872A53-B0DC-4983-A494-284BD23CCDEB}">
      <dgm:prSet/>
      <dgm:spPr/>
      <dgm:t>
        <a:bodyPr/>
        <a:lstStyle/>
        <a:p>
          <a:endParaRPr lang="en-US"/>
        </a:p>
      </dgm:t>
    </dgm:pt>
    <dgm:pt modelId="{31DB386E-3A23-4BB8-A758-87695A6613C2}" type="sibTrans" cxnId="{E0872A53-B0DC-4983-A494-284BD23CCDEB}">
      <dgm:prSet/>
      <dgm:spPr/>
      <dgm:t>
        <a:bodyPr/>
        <a:lstStyle/>
        <a:p>
          <a:endParaRPr lang="en-US"/>
        </a:p>
      </dgm:t>
    </dgm:pt>
    <dgm:pt modelId="{A3775955-7798-4A71-89E9-456FBB9C8523}" type="pres">
      <dgm:prSet presAssocID="{C2BB4C4D-6A2A-4D52-A7B2-3DD1BC67C1AE}" presName="Name0" presStyleCnt="0">
        <dgm:presLayoutVars>
          <dgm:dir/>
          <dgm:animLvl val="lvl"/>
          <dgm:resizeHandles val="exact"/>
        </dgm:presLayoutVars>
      </dgm:prSet>
      <dgm:spPr/>
    </dgm:pt>
    <dgm:pt modelId="{595D44B6-783E-421E-B194-36603BD536FE}" type="pres">
      <dgm:prSet presAssocID="{66A0F6DE-DD9E-4924-B806-5E7747BA683D}" presName="composite" presStyleCnt="0"/>
      <dgm:spPr/>
    </dgm:pt>
    <dgm:pt modelId="{C8EA2300-0902-41CF-8DE3-EF1333A19D2A}" type="pres">
      <dgm:prSet presAssocID="{66A0F6DE-DD9E-4924-B806-5E7747BA683D}" presName="parTx" presStyleLbl="alignNode1" presStyleIdx="0" presStyleCnt="2">
        <dgm:presLayoutVars>
          <dgm:chMax val="0"/>
          <dgm:chPref val="0"/>
          <dgm:bulletEnabled val="1"/>
        </dgm:presLayoutVars>
      </dgm:prSet>
      <dgm:spPr/>
    </dgm:pt>
    <dgm:pt modelId="{BAD13D12-81A5-4696-8F90-2CDFECF2217D}" type="pres">
      <dgm:prSet presAssocID="{66A0F6DE-DD9E-4924-B806-5E7747BA683D}" presName="desTx" presStyleLbl="alignAccFollowNode1" presStyleIdx="0" presStyleCnt="2">
        <dgm:presLayoutVars>
          <dgm:bulletEnabled val="1"/>
        </dgm:presLayoutVars>
      </dgm:prSet>
      <dgm:spPr/>
    </dgm:pt>
    <dgm:pt modelId="{BA378507-37E3-4441-8B3D-4B018C2C9CDB}" type="pres">
      <dgm:prSet presAssocID="{72FE561F-D1D7-4CA9-B499-BA8DE3B5DA43}" presName="space" presStyleCnt="0"/>
      <dgm:spPr/>
    </dgm:pt>
    <dgm:pt modelId="{D74E899B-2966-40DC-B6AD-6B334723EFD1}" type="pres">
      <dgm:prSet presAssocID="{EFA8FBAE-5BD2-47B9-AB4F-60BD9E3C3F30}" presName="composite" presStyleCnt="0"/>
      <dgm:spPr/>
    </dgm:pt>
    <dgm:pt modelId="{00C82F43-D0EC-4416-9542-381A0C09BD27}" type="pres">
      <dgm:prSet presAssocID="{EFA8FBAE-5BD2-47B9-AB4F-60BD9E3C3F30}" presName="parTx" presStyleLbl="alignNode1" presStyleIdx="1" presStyleCnt="2">
        <dgm:presLayoutVars>
          <dgm:chMax val="0"/>
          <dgm:chPref val="0"/>
          <dgm:bulletEnabled val="1"/>
        </dgm:presLayoutVars>
      </dgm:prSet>
      <dgm:spPr/>
    </dgm:pt>
    <dgm:pt modelId="{2F8EF1CB-44EC-4B3D-B02F-AB0D218C0B47}" type="pres">
      <dgm:prSet presAssocID="{EFA8FBAE-5BD2-47B9-AB4F-60BD9E3C3F30}" presName="desTx" presStyleLbl="alignAccFollowNode1" presStyleIdx="1" presStyleCnt="2">
        <dgm:presLayoutVars>
          <dgm:bulletEnabled val="1"/>
        </dgm:presLayoutVars>
      </dgm:prSet>
      <dgm:spPr/>
    </dgm:pt>
  </dgm:ptLst>
  <dgm:cxnLst>
    <dgm:cxn modelId="{138E2403-BE4B-44AB-BB7C-1DB0C2FD55E1}" srcId="{C2BB4C4D-6A2A-4D52-A7B2-3DD1BC67C1AE}" destId="{66A0F6DE-DD9E-4924-B806-5E7747BA683D}" srcOrd="0" destOrd="0" parTransId="{B85E5AA6-F03B-4BB0-8038-7E1B56E21362}" sibTransId="{72FE561F-D1D7-4CA9-B499-BA8DE3B5DA43}"/>
    <dgm:cxn modelId="{98EAA028-F102-4E5F-8483-C37187F1D2FB}" srcId="{EFA8FBAE-5BD2-47B9-AB4F-60BD9E3C3F30}" destId="{64AC0A19-F9CB-43B5-8461-FBC9A8196FCC}" srcOrd="0" destOrd="0" parTransId="{EA06E01D-77CF-4997-857D-D00B73698F49}" sibTransId="{68A19E74-60ED-47E0-A4A4-E39197735101}"/>
    <dgm:cxn modelId="{E0872A53-B0DC-4983-A494-284BD23CCDEB}" srcId="{C2BB4C4D-6A2A-4D52-A7B2-3DD1BC67C1AE}" destId="{EFA8FBAE-5BD2-47B9-AB4F-60BD9E3C3F30}" srcOrd="1" destOrd="0" parTransId="{95DB631C-2D3F-41E6-A363-B0E9471AC120}" sibTransId="{31DB386E-3A23-4BB8-A758-87695A6613C2}"/>
    <dgm:cxn modelId="{FFC1538A-0CDF-4CDB-90F0-7A77E2E871CF}" type="presOf" srcId="{64AC0A19-F9CB-43B5-8461-FBC9A8196FCC}" destId="{2F8EF1CB-44EC-4B3D-B02F-AB0D218C0B47}" srcOrd="0" destOrd="0" presId="urn:microsoft.com/office/officeart/2005/8/layout/hList1"/>
    <dgm:cxn modelId="{55B4D297-5249-4ACD-B35A-7DEE1A79CCA8}" type="presOf" srcId="{EFA8FBAE-5BD2-47B9-AB4F-60BD9E3C3F30}" destId="{00C82F43-D0EC-4416-9542-381A0C09BD27}" srcOrd="0" destOrd="0" presId="urn:microsoft.com/office/officeart/2005/8/layout/hList1"/>
    <dgm:cxn modelId="{6A5972A3-8D51-421A-9C3D-11871E8E59D5}" type="presOf" srcId="{66A0F6DE-DD9E-4924-B806-5E7747BA683D}" destId="{C8EA2300-0902-41CF-8DE3-EF1333A19D2A}" srcOrd="0" destOrd="0" presId="urn:microsoft.com/office/officeart/2005/8/layout/hList1"/>
    <dgm:cxn modelId="{7755FCBD-081F-4E47-B969-A48511AECDD4}" type="presOf" srcId="{02C37799-61AD-4F0A-A12B-784AB963A475}" destId="{BAD13D12-81A5-4696-8F90-2CDFECF2217D}" srcOrd="0" destOrd="0" presId="urn:microsoft.com/office/officeart/2005/8/layout/hList1"/>
    <dgm:cxn modelId="{CE40ABBE-22B4-448C-AB4D-92CD096180E8}" type="presOf" srcId="{C2BB4C4D-6A2A-4D52-A7B2-3DD1BC67C1AE}" destId="{A3775955-7798-4A71-89E9-456FBB9C8523}" srcOrd="0" destOrd="0" presId="urn:microsoft.com/office/officeart/2005/8/layout/hList1"/>
    <dgm:cxn modelId="{00497EF6-086E-40D8-802A-090EE237E1D8}" srcId="{66A0F6DE-DD9E-4924-B806-5E7747BA683D}" destId="{02C37799-61AD-4F0A-A12B-784AB963A475}" srcOrd="0" destOrd="0" parTransId="{6DAD55D5-C023-4FC0-863B-DF551DE12024}" sibTransId="{E727E3E4-ACBC-4316-B42C-00C68F3797F0}"/>
    <dgm:cxn modelId="{8F01A741-0C0E-4ACA-9AFF-1FB19FC7E764}" type="presParOf" srcId="{A3775955-7798-4A71-89E9-456FBB9C8523}" destId="{595D44B6-783E-421E-B194-36603BD536FE}" srcOrd="0" destOrd="0" presId="urn:microsoft.com/office/officeart/2005/8/layout/hList1"/>
    <dgm:cxn modelId="{787A832A-6ECF-41AA-8D66-A5FD9BB0CE83}" type="presParOf" srcId="{595D44B6-783E-421E-B194-36603BD536FE}" destId="{C8EA2300-0902-41CF-8DE3-EF1333A19D2A}" srcOrd="0" destOrd="0" presId="urn:microsoft.com/office/officeart/2005/8/layout/hList1"/>
    <dgm:cxn modelId="{BD583637-DA0E-4ED2-9F4B-21C0BC934FBB}" type="presParOf" srcId="{595D44B6-783E-421E-B194-36603BD536FE}" destId="{BAD13D12-81A5-4696-8F90-2CDFECF2217D}" srcOrd="1" destOrd="0" presId="urn:microsoft.com/office/officeart/2005/8/layout/hList1"/>
    <dgm:cxn modelId="{27CD0FBF-303F-4411-A168-E10D07DDB126}" type="presParOf" srcId="{A3775955-7798-4A71-89E9-456FBB9C8523}" destId="{BA378507-37E3-4441-8B3D-4B018C2C9CDB}" srcOrd="1" destOrd="0" presId="urn:microsoft.com/office/officeart/2005/8/layout/hList1"/>
    <dgm:cxn modelId="{D44299B8-6378-45E3-9C14-F8564255B008}" type="presParOf" srcId="{A3775955-7798-4A71-89E9-456FBB9C8523}" destId="{D74E899B-2966-40DC-B6AD-6B334723EFD1}" srcOrd="2" destOrd="0" presId="urn:microsoft.com/office/officeart/2005/8/layout/hList1"/>
    <dgm:cxn modelId="{278E2156-46D0-4B9F-A250-48FD00EB4062}" type="presParOf" srcId="{D74E899B-2966-40DC-B6AD-6B334723EFD1}" destId="{00C82F43-D0EC-4416-9542-381A0C09BD27}" srcOrd="0" destOrd="0" presId="urn:microsoft.com/office/officeart/2005/8/layout/hList1"/>
    <dgm:cxn modelId="{EA731C24-9BB8-41DE-AEB9-49F1D9DDB64A}" type="presParOf" srcId="{D74E899B-2966-40DC-B6AD-6B334723EFD1}" destId="{2F8EF1CB-44EC-4B3D-B02F-AB0D218C0B4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2BB4C4D-6A2A-4D52-A7B2-3DD1BC67C1AE}" type="doc">
      <dgm:prSet loTypeId="urn:microsoft.com/office/officeart/2005/8/layout/arrow6" loCatId="relationship" qsTypeId="urn:microsoft.com/office/officeart/2005/8/quickstyle/simple1" qsCatId="simple" csTypeId="urn:microsoft.com/office/officeart/2005/8/colors/accent6_2" csCatId="accent6" phldr="1"/>
      <dgm:spPr/>
      <dgm:t>
        <a:bodyPr/>
        <a:lstStyle/>
        <a:p>
          <a:endParaRPr lang="en-US"/>
        </a:p>
      </dgm:t>
    </dgm:pt>
    <dgm:pt modelId="{117B3CD5-38BD-46D1-B0E2-325B40325721}">
      <dgm:prSet/>
      <dgm:spPr/>
      <dgm:t>
        <a:bodyPr/>
        <a:lstStyle/>
        <a:p>
          <a:pPr algn="ctr"/>
          <a:r>
            <a:rPr lang="en-US" baseline="0" dirty="0"/>
            <a:t>Parameter Sniffing</a:t>
          </a:r>
          <a:endParaRPr lang="en-US" dirty="0"/>
        </a:p>
      </dgm:t>
    </dgm:pt>
    <dgm:pt modelId="{EB194D97-7ED6-411B-B21E-F4AEF359C847}" type="parTrans" cxnId="{2E3705FA-0833-4733-BDFC-438AC7B0F98F}">
      <dgm:prSet/>
      <dgm:spPr/>
      <dgm:t>
        <a:bodyPr/>
        <a:lstStyle/>
        <a:p>
          <a:endParaRPr lang="en-US"/>
        </a:p>
      </dgm:t>
    </dgm:pt>
    <dgm:pt modelId="{AA4AAB29-8D94-4B28-8998-5140C86C355D}" type="sibTrans" cxnId="{2E3705FA-0833-4733-BDFC-438AC7B0F98F}">
      <dgm:prSet/>
      <dgm:spPr/>
      <dgm:t>
        <a:bodyPr/>
        <a:lstStyle/>
        <a:p>
          <a:endParaRPr lang="en-US"/>
        </a:p>
      </dgm:t>
    </dgm:pt>
    <dgm:pt modelId="{DAAD3C80-15E2-4C62-90F9-D3A68C29395B}">
      <dgm:prSet/>
      <dgm:spPr/>
      <dgm:t>
        <a:bodyPr/>
        <a:lstStyle/>
        <a:p>
          <a:pPr rtl="0"/>
          <a:r>
            <a:rPr lang="en-US" baseline="0" dirty="0"/>
            <a:t>Optimizer’s ability to see (sniff) parameter values at compile time and so create a cost-effective execution plan</a:t>
          </a:r>
          <a:r>
            <a:rPr lang="en-US" baseline="0" dirty="0">
              <a:latin typeface="Segoe UI Semibold"/>
            </a:rPr>
            <a:t>.  </a:t>
          </a:r>
          <a:endParaRPr lang="en-US" b="1" dirty="0"/>
        </a:p>
      </dgm:t>
    </dgm:pt>
    <dgm:pt modelId="{323286F1-B937-4C7E-9CC8-671AB2A92E45}" type="parTrans" cxnId="{D095AE43-8A6F-4758-9A3C-AA38240D2DA8}">
      <dgm:prSet/>
      <dgm:spPr/>
      <dgm:t>
        <a:bodyPr/>
        <a:lstStyle/>
        <a:p>
          <a:endParaRPr lang="en-US"/>
        </a:p>
      </dgm:t>
    </dgm:pt>
    <dgm:pt modelId="{9B45E7DD-F046-4C2E-BA48-9A09B25C1AAE}" type="sibTrans" cxnId="{D095AE43-8A6F-4758-9A3C-AA38240D2DA8}">
      <dgm:prSet/>
      <dgm:spPr/>
      <dgm:t>
        <a:bodyPr/>
        <a:lstStyle/>
        <a:p>
          <a:endParaRPr lang="en-US"/>
        </a:p>
      </dgm:t>
    </dgm:pt>
    <dgm:pt modelId="{3BB68028-0FF7-4CE3-BD36-B5E680159F89}">
      <dgm:prSet/>
      <dgm:spPr/>
      <dgm:t>
        <a:bodyPr/>
        <a:lstStyle/>
        <a:p>
          <a:pPr algn="ctr"/>
          <a:r>
            <a:rPr lang="en-US" baseline="0" dirty="0"/>
            <a:t>Recompile hints</a:t>
          </a:r>
          <a:endParaRPr lang="en-US" dirty="0"/>
        </a:p>
      </dgm:t>
    </dgm:pt>
    <dgm:pt modelId="{21148237-9CA7-4235-B42B-BD8E18F8292B}" type="parTrans" cxnId="{BD161744-3055-4366-8E6F-FCB94E6B2297}">
      <dgm:prSet/>
      <dgm:spPr/>
      <dgm:t>
        <a:bodyPr/>
        <a:lstStyle/>
        <a:p>
          <a:endParaRPr lang="en-US"/>
        </a:p>
      </dgm:t>
    </dgm:pt>
    <dgm:pt modelId="{E7DCD27E-52B8-44A7-A86E-39C465D32656}" type="sibTrans" cxnId="{BD161744-3055-4366-8E6F-FCB94E6B2297}">
      <dgm:prSet/>
      <dgm:spPr/>
      <dgm:t>
        <a:bodyPr/>
        <a:lstStyle/>
        <a:p>
          <a:endParaRPr lang="en-US"/>
        </a:p>
      </dgm:t>
    </dgm:pt>
    <dgm:pt modelId="{41A5CBAC-3AEE-4A86-812C-3A3A58061674}">
      <dgm:prSet/>
      <dgm:spPr/>
      <dgm:t>
        <a:bodyPr/>
        <a:lstStyle/>
        <a:p>
          <a:r>
            <a:rPr lang="en-US" baseline="0" dirty="0"/>
            <a:t>Prevent caching of plans at the object or statement (preferred) level</a:t>
          </a:r>
          <a:endParaRPr lang="en-US" dirty="0"/>
        </a:p>
      </dgm:t>
    </dgm:pt>
    <dgm:pt modelId="{B12F2A2D-9383-4A57-88D8-05FCF6392B9C}" type="parTrans" cxnId="{32F06807-6AFB-494B-BE0B-96C603DFC6BB}">
      <dgm:prSet/>
      <dgm:spPr/>
      <dgm:t>
        <a:bodyPr/>
        <a:lstStyle/>
        <a:p>
          <a:endParaRPr lang="en-US"/>
        </a:p>
      </dgm:t>
    </dgm:pt>
    <dgm:pt modelId="{F4B99681-99AB-465F-9749-BC5871392F5B}" type="sibTrans" cxnId="{32F06807-6AFB-494B-BE0B-96C603DFC6BB}">
      <dgm:prSet/>
      <dgm:spPr/>
      <dgm:t>
        <a:bodyPr/>
        <a:lstStyle/>
        <a:p>
          <a:endParaRPr lang="en-US"/>
        </a:p>
      </dgm:t>
    </dgm:pt>
    <dgm:pt modelId="{BB5098A9-E3B1-46A0-8557-4BCFBDE36F20}">
      <dgm:prSet/>
      <dgm:spPr/>
      <dgm:t>
        <a:bodyPr/>
        <a:lstStyle/>
        <a:p>
          <a:r>
            <a:rPr lang="en-US" baseline="0" dirty="0"/>
            <a:t>sp_recompile &lt;object_name&gt; to manually force recompilation</a:t>
          </a:r>
          <a:endParaRPr lang="en-US" dirty="0"/>
        </a:p>
      </dgm:t>
    </dgm:pt>
    <dgm:pt modelId="{99F81B8A-CE95-4142-AC6F-602713430FDE}" type="parTrans" cxnId="{459B5D9F-ABFC-444C-BF32-8E4718D2C0ED}">
      <dgm:prSet/>
      <dgm:spPr/>
      <dgm:t>
        <a:bodyPr/>
        <a:lstStyle/>
        <a:p>
          <a:endParaRPr lang="en-US"/>
        </a:p>
      </dgm:t>
    </dgm:pt>
    <dgm:pt modelId="{1E535CD7-6E21-43F5-88F9-B32760082811}" type="sibTrans" cxnId="{459B5D9F-ABFC-444C-BF32-8E4718D2C0ED}">
      <dgm:prSet/>
      <dgm:spPr/>
      <dgm:t>
        <a:bodyPr/>
        <a:lstStyle/>
        <a:p>
          <a:endParaRPr lang="en-US"/>
        </a:p>
      </dgm:t>
    </dgm:pt>
    <dgm:pt modelId="{DEF0FA18-D445-4B13-9E8E-9D15473DC6C5}">
      <dgm:prSet/>
      <dgm:spPr/>
      <dgm:t>
        <a:bodyPr/>
        <a:lstStyle/>
        <a:p>
          <a:r>
            <a:rPr lang="en-US" b="0" u="sng" dirty="0"/>
            <a:t>Only</a:t>
          </a:r>
          <a:r>
            <a:rPr lang="en-US" b="0" dirty="0"/>
            <a:t> p</a:t>
          </a:r>
          <a:r>
            <a:rPr lang="en-US" dirty="0"/>
            <a:t>roblematic when compile parameters aren’t representative</a:t>
          </a:r>
        </a:p>
      </dgm:t>
    </dgm:pt>
    <dgm:pt modelId="{1FEA1664-2335-4E87-A830-AECA7BC0C3F1}" type="parTrans" cxnId="{43F20BD5-1CCA-4024-9819-00EBA8E2E23D}">
      <dgm:prSet/>
      <dgm:spPr/>
      <dgm:t>
        <a:bodyPr/>
        <a:lstStyle/>
        <a:p>
          <a:endParaRPr lang="en-US"/>
        </a:p>
      </dgm:t>
    </dgm:pt>
    <dgm:pt modelId="{C7051F27-8633-43DE-BA70-34EF39043703}" type="sibTrans" cxnId="{43F20BD5-1CCA-4024-9819-00EBA8E2E23D}">
      <dgm:prSet/>
      <dgm:spPr/>
      <dgm:t>
        <a:bodyPr/>
        <a:lstStyle/>
        <a:p>
          <a:endParaRPr lang="en-US"/>
        </a:p>
      </dgm:t>
    </dgm:pt>
    <dgm:pt modelId="{98848F1D-3267-43A9-B73D-9581BEE36F7E}">
      <dgm:prSet/>
      <dgm:spPr/>
      <dgm:t>
        <a:bodyPr/>
        <a:lstStyle/>
        <a:p>
          <a:r>
            <a:rPr lang="en-US" b="0" baseline="0" dirty="0"/>
            <a:t>This is generally beneficial.</a:t>
          </a:r>
          <a:endParaRPr lang="en-US" b="0" dirty="0"/>
        </a:p>
      </dgm:t>
    </dgm:pt>
    <dgm:pt modelId="{1C0489F3-F2C2-4FFD-A5E3-156380D6289A}" type="parTrans" cxnId="{6AFEDE10-4E77-434C-8D7C-50B604AC7639}">
      <dgm:prSet/>
      <dgm:spPr/>
      <dgm:t>
        <a:bodyPr/>
        <a:lstStyle/>
        <a:p>
          <a:endParaRPr lang="en-US"/>
        </a:p>
      </dgm:t>
    </dgm:pt>
    <dgm:pt modelId="{83CB7A03-7BD7-4379-BA08-73A5714011A5}" type="sibTrans" cxnId="{6AFEDE10-4E77-434C-8D7C-50B604AC7639}">
      <dgm:prSet/>
      <dgm:spPr/>
      <dgm:t>
        <a:bodyPr/>
        <a:lstStyle/>
        <a:p>
          <a:endParaRPr lang="en-US"/>
        </a:p>
      </dgm:t>
    </dgm:pt>
    <dgm:pt modelId="{5C06F45D-F2C9-4732-858E-9BCD450AD6D7}" type="pres">
      <dgm:prSet presAssocID="{C2BB4C4D-6A2A-4D52-A7B2-3DD1BC67C1AE}" presName="compositeShape" presStyleCnt="0">
        <dgm:presLayoutVars>
          <dgm:chMax val="2"/>
          <dgm:dir/>
          <dgm:resizeHandles val="exact"/>
        </dgm:presLayoutVars>
      </dgm:prSet>
      <dgm:spPr/>
    </dgm:pt>
    <dgm:pt modelId="{61E681C0-A19D-42B4-9C8C-3286F68DB5FB}" type="pres">
      <dgm:prSet presAssocID="{C2BB4C4D-6A2A-4D52-A7B2-3DD1BC67C1AE}" presName="ribbon" presStyleLbl="node1" presStyleIdx="0" presStyleCnt="1" custScaleX="132014"/>
      <dgm:spPr/>
    </dgm:pt>
    <dgm:pt modelId="{765C8ED6-EAE6-4CF5-AD1F-6474517BD6D5}" type="pres">
      <dgm:prSet presAssocID="{C2BB4C4D-6A2A-4D52-A7B2-3DD1BC67C1AE}" presName="leftArrowText" presStyleLbl="node1" presStyleIdx="0" presStyleCnt="1" custScaleX="116701" custLinFactNeighborX="-11429">
        <dgm:presLayoutVars>
          <dgm:chMax val="0"/>
          <dgm:bulletEnabled val="1"/>
        </dgm:presLayoutVars>
      </dgm:prSet>
      <dgm:spPr/>
    </dgm:pt>
    <dgm:pt modelId="{B1F73455-BB74-4E53-B758-E009DED876F4}" type="pres">
      <dgm:prSet presAssocID="{C2BB4C4D-6A2A-4D52-A7B2-3DD1BC67C1AE}" presName="rightArrowText" presStyleLbl="node1" presStyleIdx="0" presStyleCnt="1" custScaleX="119297" custLinFactNeighborX="21276" custLinFactNeighborY="-2195">
        <dgm:presLayoutVars>
          <dgm:chMax val="0"/>
          <dgm:bulletEnabled val="1"/>
        </dgm:presLayoutVars>
      </dgm:prSet>
      <dgm:spPr/>
    </dgm:pt>
  </dgm:ptLst>
  <dgm:cxnLst>
    <dgm:cxn modelId="{32F06807-6AFB-494B-BE0B-96C603DFC6BB}" srcId="{3BB68028-0FF7-4CE3-BD36-B5E680159F89}" destId="{41A5CBAC-3AEE-4A86-812C-3A3A58061674}" srcOrd="0" destOrd="0" parTransId="{B12F2A2D-9383-4A57-88D8-05FCF6392B9C}" sibTransId="{F4B99681-99AB-465F-9749-BC5871392F5B}"/>
    <dgm:cxn modelId="{98A73C0C-DA74-4504-BC1C-240ACC2C089C}" type="presOf" srcId="{3BB68028-0FF7-4CE3-BD36-B5E680159F89}" destId="{B1F73455-BB74-4E53-B758-E009DED876F4}" srcOrd="0" destOrd="0" presId="urn:microsoft.com/office/officeart/2005/8/layout/arrow6"/>
    <dgm:cxn modelId="{6AFEDE10-4E77-434C-8D7C-50B604AC7639}" srcId="{117B3CD5-38BD-46D1-B0E2-325B40325721}" destId="{98848F1D-3267-43A9-B73D-9581BEE36F7E}" srcOrd="1" destOrd="0" parTransId="{1C0489F3-F2C2-4FFD-A5E3-156380D6289A}" sibTransId="{83CB7A03-7BD7-4379-BA08-73A5714011A5}"/>
    <dgm:cxn modelId="{3E8CB634-52A6-4171-A6F5-75E32CD04033}" type="presOf" srcId="{117B3CD5-38BD-46D1-B0E2-325B40325721}" destId="{765C8ED6-EAE6-4CF5-AD1F-6474517BD6D5}" srcOrd="0" destOrd="0" presId="urn:microsoft.com/office/officeart/2005/8/layout/arrow6"/>
    <dgm:cxn modelId="{DA619342-DE3C-4570-ACBB-EE9E0A6DFC22}" type="presOf" srcId="{41A5CBAC-3AEE-4A86-812C-3A3A58061674}" destId="{B1F73455-BB74-4E53-B758-E009DED876F4}" srcOrd="0" destOrd="1" presId="urn:microsoft.com/office/officeart/2005/8/layout/arrow6"/>
    <dgm:cxn modelId="{D095AE43-8A6F-4758-9A3C-AA38240D2DA8}" srcId="{117B3CD5-38BD-46D1-B0E2-325B40325721}" destId="{DAAD3C80-15E2-4C62-90F9-D3A68C29395B}" srcOrd="0" destOrd="0" parTransId="{323286F1-B937-4C7E-9CC8-671AB2A92E45}" sibTransId="{9B45E7DD-F046-4C2E-BA48-9A09B25C1AAE}"/>
    <dgm:cxn modelId="{BD161744-3055-4366-8E6F-FCB94E6B2297}" srcId="{C2BB4C4D-6A2A-4D52-A7B2-3DD1BC67C1AE}" destId="{3BB68028-0FF7-4CE3-BD36-B5E680159F89}" srcOrd="1" destOrd="0" parTransId="{21148237-9CA7-4235-B42B-BD8E18F8292B}" sibTransId="{E7DCD27E-52B8-44A7-A86E-39C465D32656}"/>
    <dgm:cxn modelId="{8202B495-0E99-461A-A37D-6AAD799BDA9F}" type="presOf" srcId="{C2BB4C4D-6A2A-4D52-A7B2-3DD1BC67C1AE}" destId="{5C06F45D-F2C9-4732-858E-9BCD450AD6D7}" srcOrd="0" destOrd="0" presId="urn:microsoft.com/office/officeart/2005/8/layout/arrow6"/>
    <dgm:cxn modelId="{459B5D9F-ABFC-444C-BF32-8E4718D2C0ED}" srcId="{3BB68028-0FF7-4CE3-BD36-B5E680159F89}" destId="{BB5098A9-E3B1-46A0-8557-4BCFBDE36F20}" srcOrd="1" destOrd="0" parTransId="{99F81B8A-CE95-4142-AC6F-602713430FDE}" sibTransId="{1E535CD7-6E21-43F5-88F9-B32760082811}"/>
    <dgm:cxn modelId="{34BF3AB1-F0DA-4EF4-9895-EB5C800CBF2F}" type="presOf" srcId="{BB5098A9-E3B1-46A0-8557-4BCFBDE36F20}" destId="{B1F73455-BB74-4E53-B758-E009DED876F4}" srcOrd="0" destOrd="2" presId="urn:microsoft.com/office/officeart/2005/8/layout/arrow6"/>
    <dgm:cxn modelId="{52F0C3B6-ECE7-41C0-9053-D30EB865FE9D}" type="presOf" srcId="{98848F1D-3267-43A9-B73D-9581BEE36F7E}" destId="{765C8ED6-EAE6-4CF5-AD1F-6474517BD6D5}" srcOrd="0" destOrd="2" presId="urn:microsoft.com/office/officeart/2005/8/layout/arrow6"/>
    <dgm:cxn modelId="{236413BB-6262-44C9-9565-1277D90875DB}" type="presOf" srcId="{DEF0FA18-D445-4B13-9E8E-9D15473DC6C5}" destId="{765C8ED6-EAE6-4CF5-AD1F-6474517BD6D5}" srcOrd="0" destOrd="3" presId="urn:microsoft.com/office/officeart/2005/8/layout/arrow6"/>
    <dgm:cxn modelId="{BA759BBC-A33F-496F-BB3B-C78B01BD0F68}" type="presOf" srcId="{DAAD3C80-15E2-4C62-90F9-D3A68C29395B}" destId="{765C8ED6-EAE6-4CF5-AD1F-6474517BD6D5}" srcOrd="0" destOrd="1" presId="urn:microsoft.com/office/officeart/2005/8/layout/arrow6"/>
    <dgm:cxn modelId="{43F20BD5-1CCA-4024-9819-00EBA8E2E23D}" srcId="{117B3CD5-38BD-46D1-B0E2-325B40325721}" destId="{DEF0FA18-D445-4B13-9E8E-9D15473DC6C5}" srcOrd="2" destOrd="0" parTransId="{1FEA1664-2335-4E87-A830-AECA7BC0C3F1}" sibTransId="{C7051F27-8633-43DE-BA70-34EF39043703}"/>
    <dgm:cxn modelId="{2E3705FA-0833-4733-BDFC-438AC7B0F98F}" srcId="{C2BB4C4D-6A2A-4D52-A7B2-3DD1BC67C1AE}" destId="{117B3CD5-38BD-46D1-B0E2-325B40325721}" srcOrd="0" destOrd="0" parTransId="{EB194D97-7ED6-411B-B21E-F4AEF359C847}" sibTransId="{AA4AAB29-8D94-4B28-8998-5140C86C355D}"/>
    <dgm:cxn modelId="{92121B88-15A0-423F-9DB7-78EB8DD59B06}" type="presParOf" srcId="{5C06F45D-F2C9-4732-858E-9BCD450AD6D7}" destId="{61E681C0-A19D-42B4-9C8C-3286F68DB5FB}" srcOrd="0" destOrd="0" presId="urn:microsoft.com/office/officeart/2005/8/layout/arrow6"/>
    <dgm:cxn modelId="{A6A10B1D-1ACD-43E3-B9AF-867850ED583B}" type="presParOf" srcId="{5C06F45D-F2C9-4732-858E-9BCD450AD6D7}" destId="{765C8ED6-EAE6-4CF5-AD1F-6474517BD6D5}" srcOrd="1" destOrd="0" presId="urn:microsoft.com/office/officeart/2005/8/layout/arrow6"/>
    <dgm:cxn modelId="{0651D622-828F-4AC3-97C6-B380650328D5}" type="presParOf" srcId="{5C06F45D-F2C9-4732-858E-9BCD450AD6D7}" destId="{B1F73455-BB74-4E53-B758-E009DED876F4}" srcOrd="2" destOrd="0" presId="urn:microsoft.com/office/officeart/2005/8/layout/arrow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AU"/>
        </a:p>
      </dgm:t>
    </dgm:pt>
    <dgm:pt modelId="{CDCA19B1-3B45-4B24-8F19-085A650701BC}">
      <dgm:prSet custT="1"/>
      <dgm:spPr/>
      <dgm:t>
        <a:bodyPr/>
        <a:lstStyle/>
        <a:p>
          <a:r>
            <a:rPr lang="en-US" sz="2400" dirty="0"/>
            <a:t>Is the size of the plan cache fixed?</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How long do query plans remain in the plan cach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y is plan caching helpful?</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custT="1"/>
      <dgm:spPr/>
      <dgm:t>
        <a:bodyPr/>
        <a:lstStyle/>
        <a:p>
          <a:r>
            <a:rPr lang="en-US" sz="2400" dirty="0"/>
            <a:t>Why are </a:t>
          </a:r>
          <a:r>
            <a:rPr lang="en-US" sz="2400" i="1" dirty="0"/>
            <a:t>ad hoc </a:t>
          </a:r>
          <a:r>
            <a:rPr lang="en-US" sz="2400" dirty="0"/>
            <a:t>query plans sometimes problematic?</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custT="1"/>
      <dgm:spPr/>
      <dgm:t>
        <a:bodyPr/>
        <a:lstStyle/>
        <a:p>
          <a:r>
            <a:rPr lang="en-US" sz="2400" dirty="0"/>
            <a:t>What can be done to address a parameter sniffing issue?</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72607BAA-6FB5-4319-98ED-63364F299559}">
      <dgm:prSet custT="1"/>
      <dgm:spPr/>
      <dgm:t>
        <a:bodyPr/>
        <a:lstStyle/>
        <a:p>
          <a:r>
            <a:rPr lang="en-US" sz="2400" dirty="0"/>
            <a:t>What can be done to lessen the impact of an </a:t>
          </a:r>
          <a:r>
            <a:rPr lang="en-US" sz="2400" i="1" dirty="0"/>
            <a:t>ad hoc </a:t>
          </a:r>
          <a:r>
            <a:rPr lang="en-US" sz="2400" dirty="0"/>
            <a:t>workload?</a:t>
          </a:r>
        </a:p>
      </dgm:t>
    </dgm:pt>
    <dgm:pt modelId="{3BDC5BA6-C401-413B-A0B5-B2C1795B8BF0}" type="parTrans" cxnId="{B7E02D0B-BFE7-4E8F-9147-8CE2A0F40E38}">
      <dgm:prSet/>
      <dgm:spPr/>
      <dgm:t>
        <a:bodyPr/>
        <a:lstStyle/>
        <a:p>
          <a:endParaRPr lang="en-US"/>
        </a:p>
      </dgm:t>
    </dgm:pt>
    <dgm:pt modelId="{9E517E35-548C-4FDC-9251-0C9FE45D5208}" type="sibTrans" cxnId="{B7E02D0B-BFE7-4E8F-9147-8CE2A0F40E38}">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6">
        <dgm:presLayoutVars>
          <dgm:chMax val="0"/>
          <dgm:bulletEnabled val="1"/>
        </dgm:presLayoutVars>
      </dgm:prSet>
      <dgm:spPr/>
    </dgm:pt>
    <dgm:pt modelId="{32F7A83F-0E59-4DBF-8F19-10C6E4E0F610}" type="pres">
      <dgm:prSet presAssocID="{3FBAB6A2-0607-4274-9C0A-0E5D7E46D320}" presName="spacer" presStyleCnt="0"/>
      <dgm:spPr/>
    </dgm:pt>
    <dgm:pt modelId="{D5774165-7248-4210-ABDB-B3EBDE700FEB}" type="pres">
      <dgm:prSet presAssocID="{72607BAA-6FB5-4319-98ED-63364F299559}" presName="parentText" presStyleLbl="node1" presStyleIdx="4" presStyleCnt="6">
        <dgm:presLayoutVars>
          <dgm:chMax val="0"/>
          <dgm:bulletEnabled val="1"/>
        </dgm:presLayoutVars>
      </dgm:prSet>
      <dgm:spPr/>
    </dgm:pt>
    <dgm:pt modelId="{3166E4B6-8FE6-45C8-ADBE-8B61C0C8A1B1}" type="pres">
      <dgm:prSet presAssocID="{9E517E35-548C-4FDC-9251-0C9FE45D5208}" presName="spacer" presStyleCnt="0"/>
      <dgm:spPr/>
    </dgm:pt>
    <dgm:pt modelId="{196D8D5C-AF3C-4B3F-BC76-432EBE3C6399}" type="pres">
      <dgm:prSet presAssocID="{F8131A31-16A9-4040-8773-13EAB223AACD}"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B7E02D0B-BFE7-4E8F-9147-8CE2A0F40E38}" srcId="{15A7774C-B622-4F48-8F7B-AF1AAB74E997}" destId="{72607BAA-6FB5-4319-98ED-63364F299559}" srcOrd="4" destOrd="0" parTransId="{3BDC5BA6-C401-413B-A0B5-B2C1795B8BF0}" sibTransId="{9E517E35-548C-4FDC-9251-0C9FE45D5208}"/>
    <dgm:cxn modelId="{61B9891E-F9D4-4D0B-B764-7A78A5588301}" srcId="{15A7774C-B622-4F48-8F7B-AF1AAB74E997}" destId="{F8131A31-16A9-4040-8773-13EAB223AACD}" srcOrd="5"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FB75B666-FDD4-40D3-B702-7860633045B8}" type="presOf" srcId="{72607BAA-6FB5-4319-98ED-63364F299559}" destId="{D5774165-7248-4210-ABDB-B3EBDE700FEB}"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6D783DD5-3075-4E90-8D44-05BE385F10F6}" type="presParOf" srcId="{97400BD5-14CE-4761-8A6A-64BC46D23158}" destId="{D5774165-7248-4210-ABDB-B3EBDE700FEB}" srcOrd="8" destOrd="0" presId="urn:microsoft.com/office/officeart/2005/8/layout/vList2"/>
    <dgm:cxn modelId="{B2E849B3-BF56-4A72-938D-1510CDF3611A}" type="presParOf" srcId="{97400BD5-14CE-4761-8A6A-64BC46D23158}" destId="{3166E4B6-8FE6-45C8-ADBE-8B61C0C8A1B1}" srcOrd="9" destOrd="0" presId="urn:microsoft.com/office/officeart/2005/8/layout/vList2"/>
    <dgm:cxn modelId="{54DBC56F-D6DE-42C8-9459-B589A2697E6A}" type="presParOf" srcId="{97400BD5-14CE-4761-8A6A-64BC46D23158}" destId="{196D8D5C-AF3C-4B3F-BC76-432EBE3C6399}"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950D69A-B4C4-4450-BCFC-84B629AA5A19}"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2C4B7335-B467-4918-B668-3524E374C463}">
      <dgm:prSet/>
      <dgm:spPr/>
      <dgm:t>
        <a:bodyPr/>
        <a:lstStyle/>
        <a:p>
          <a:r>
            <a:rPr lang="en-US" baseline="0"/>
            <a:t>Query Store is set at the database level</a:t>
          </a:r>
          <a:endParaRPr lang="en-US"/>
        </a:p>
      </dgm:t>
    </dgm:pt>
    <dgm:pt modelId="{C36DEB12-EA22-45C4-9E1C-1DACA284DEF0}" type="parTrans" cxnId="{1E7FA22A-45B1-4973-A946-3071E39D5BB5}">
      <dgm:prSet/>
      <dgm:spPr/>
      <dgm:t>
        <a:bodyPr/>
        <a:lstStyle/>
        <a:p>
          <a:endParaRPr lang="en-US"/>
        </a:p>
      </dgm:t>
    </dgm:pt>
    <dgm:pt modelId="{B130EE0F-BA0B-4A94-9F91-B9614EBC16D2}" type="sibTrans" cxnId="{1E7FA22A-45B1-4973-A946-3071E39D5BB5}">
      <dgm:prSet/>
      <dgm:spPr/>
      <dgm:t>
        <a:bodyPr/>
        <a:lstStyle/>
        <a:p>
          <a:endParaRPr lang="en-US"/>
        </a:p>
      </dgm:t>
    </dgm:pt>
    <dgm:pt modelId="{6ADB4DF6-ABB6-418E-B184-DFA82A0FA5D7}">
      <dgm:prSet/>
      <dgm:spPr/>
      <dgm:t>
        <a:bodyPr/>
        <a:lstStyle/>
        <a:p>
          <a:r>
            <a:rPr lang="en-US" baseline="0"/>
            <a:t>Cannot be used for Master or TempDB system databases but can be enabled for the Model and MSDB system databases. </a:t>
          </a:r>
          <a:endParaRPr lang="en-US"/>
        </a:p>
      </dgm:t>
    </dgm:pt>
    <dgm:pt modelId="{D32006BC-5049-47C9-872B-BC6264BC4320}" type="parTrans" cxnId="{B2C5F22A-1154-4396-B85D-6D2890494171}">
      <dgm:prSet/>
      <dgm:spPr/>
      <dgm:t>
        <a:bodyPr/>
        <a:lstStyle/>
        <a:p>
          <a:endParaRPr lang="en-US"/>
        </a:p>
      </dgm:t>
    </dgm:pt>
    <dgm:pt modelId="{896CC959-BCFF-43D2-BF06-6EE1B9338ECD}" type="sibTrans" cxnId="{B2C5F22A-1154-4396-B85D-6D2890494171}">
      <dgm:prSet/>
      <dgm:spPr/>
      <dgm:t>
        <a:bodyPr/>
        <a:lstStyle/>
        <a:p>
          <a:endParaRPr lang="en-US"/>
        </a:p>
      </dgm:t>
    </dgm:pt>
    <dgm:pt modelId="{C3DF81AB-B1E7-4911-A96B-89BDA8D12FCD}">
      <dgm:prSet/>
      <dgm:spPr/>
      <dgm:t>
        <a:bodyPr/>
        <a:lstStyle/>
        <a:p>
          <a:r>
            <a:rPr lang="en-US" baseline="0"/>
            <a:t>The user database stores the data in internal tables that can be accessed by using built-in Query Store views.</a:t>
          </a:r>
          <a:endParaRPr lang="en-US"/>
        </a:p>
      </dgm:t>
    </dgm:pt>
    <dgm:pt modelId="{FD3BBE37-302D-4020-A4A6-24953DF5FF98}" type="parTrans" cxnId="{D2FBCE22-DDB0-4909-9DD0-4024360EAD47}">
      <dgm:prSet/>
      <dgm:spPr/>
      <dgm:t>
        <a:bodyPr/>
        <a:lstStyle/>
        <a:p>
          <a:endParaRPr lang="en-US"/>
        </a:p>
      </dgm:t>
    </dgm:pt>
    <dgm:pt modelId="{561C3878-050B-4EDB-B23C-AFBB31A7F42F}" type="sibTrans" cxnId="{D2FBCE22-DDB0-4909-9DD0-4024360EAD47}">
      <dgm:prSet/>
      <dgm:spPr/>
      <dgm:t>
        <a:bodyPr/>
        <a:lstStyle/>
        <a:p>
          <a:endParaRPr lang="en-US"/>
        </a:p>
      </dgm:t>
    </dgm:pt>
    <dgm:pt modelId="{674276A8-5429-479B-8CEE-FEF0863C4011}">
      <dgm:prSet/>
      <dgm:spPr/>
      <dgm:t>
        <a:bodyPr/>
        <a:lstStyle/>
        <a:p>
          <a:r>
            <a:rPr lang="en-GB" baseline="0"/>
            <a:t>SQL Server retains this data until the space allocated to Query Store is full or manually purged.</a:t>
          </a:r>
          <a:endParaRPr lang="en-US"/>
        </a:p>
      </dgm:t>
    </dgm:pt>
    <dgm:pt modelId="{FD135FB4-BC70-4D2F-ADDB-ECE1A9F1E2BD}" type="parTrans" cxnId="{BBC539D5-F1C8-48C6-B2B9-5DB6657BE048}">
      <dgm:prSet/>
      <dgm:spPr/>
      <dgm:t>
        <a:bodyPr/>
        <a:lstStyle/>
        <a:p>
          <a:endParaRPr lang="en-US"/>
        </a:p>
      </dgm:t>
    </dgm:pt>
    <dgm:pt modelId="{7E5869E8-F9B4-45D7-8A89-C2888CC9C83A}" type="sibTrans" cxnId="{BBC539D5-F1C8-48C6-B2B9-5DB6657BE048}">
      <dgm:prSet/>
      <dgm:spPr/>
      <dgm:t>
        <a:bodyPr/>
        <a:lstStyle/>
        <a:p>
          <a:endParaRPr lang="en-US"/>
        </a:p>
      </dgm:t>
    </dgm:pt>
    <dgm:pt modelId="{963F6DFE-6996-487C-8994-4DDCF160D8DA}" type="pres">
      <dgm:prSet presAssocID="{C950D69A-B4C4-4450-BCFC-84B629AA5A19}" presName="linear" presStyleCnt="0">
        <dgm:presLayoutVars>
          <dgm:animLvl val="lvl"/>
          <dgm:resizeHandles val="exact"/>
        </dgm:presLayoutVars>
      </dgm:prSet>
      <dgm:spPr/>
    </dgm:pt>
    <dgm:pt modelId="{6C3C3109-A4B9-4C66-9825-7FC920D24281}" type="pres">
      <dgm:prSet presAssocID="{2C4B7335-B467-4918-B668-3524E374C463}" presName="parentText" presStyleLbl="node1" presStyleIdx="0" presStyleCnt="4">
        <dgm:presLayoutVars>
          <dgm:chMax val="0"/>
          <dgm:bulletEnabled val="1"/>
        </dgm:presLayoutVars>
      </dgm:prSet>
      <dgm:spPr/>
    </dgm:pt>
    <dgm:pt modelId="{16C69748-D113-4CEC-BB7E-5FC5DA593B12}" type="pres">
      <dgm:prSet presAssocID="{B130EE0F-BA0B-4A94-9F91-B9614EBC16D2}" presName="spacer" presStyleCnt="0"/>
      <dgm:spPr/>
    </dgm:pt>
    <dgm:pt modelId="{940AAA97-0AD4-43AE-8A9E-D67C5192BF98}" type="pres">
      <dgm:prSet presAssocID="{6ADB4DF6-ABB6-418E-B184-DFA82A0FA5D7}" presName="parentText" presStyleLbl="node1" presStyleIdx="1" presStyleCnt="4">
        <dgm:presLayoutVars>
          <dgm:chMax val="0"/>
          <dgm:bulletEnabled val="1"/>
        </dgm:presLayoutVars>
      </dgm:prSet>
      <dgm:spPr/>
    </dgm:pt>
    <dgm:pt modelId="{5A51948E-30D8-4094-8A73-8B96D142FBC9}" type="pres">
      <dgm:prSet presAssocID="{896CC959-BCFF-43D2-BF06-6EE1B9338ECD}" presName="spacer" presStyleCnt="0"/>
      <dgm:spPr/>
    </dgm:pt>
    <dgm:pt modelId="{B405DF18-C403-4EF0-AEB4-ADB4779EBB5A}" type="pres">
      <dgm:prSet presAssocID="{C3DF81AB-B1E7-4911-A96B-89BDA8D12FCD}" presName="parentText" presStyleLbl="node1" presStyleIdx="2" presStyleCnt="4">
        <dgm:presLayoutVars>
          <dgm:chMax val="0"/>
          <dgm:bulletEnabled val="1"/>
        </dgm:presLayoutVars>
      </dgm:prSet>
      <dgm:spPr/>
    </dgm:pt>
    <dgm:pt modelId="{93E08F4F-88C4-4546-9F28-41A70D945209}" type="pres">
      <dgm:prSet presAssocID="{561C3878-050B-4EDB-B23C-AFBB31A7F42F}" presName="spacer" presStyleCnt="0"/>
      <dgm:spPr/>
    </dgm:pt>
    <dgm:pt modelId="{769C1E20-379B-47E6-908D-ECB246999F97}" type="pres">
      <dgm:prSet presAssocID="{674276A8-5429-479B-8CEE-FEF0863C4011}" presName="parentText" presStyleLbl="node1" presStyleIdx="3" presStyleCnt="4">
        <dgm:presLayoutVars>
          <dgm:chMax val="0"/>
          <dgm:bulletEnabled val="1"/>
        </dgm:presLayoutVars>
      </dgm:prSet>
      <dgm:spPr/>
    </dgm:pt>
  </dgm:ptLst>
  <dgm:cxnLst>
    <dgm:cxn modelId="{D2FBCE22-DDB0-4909-9DD0-4024360EAD47}" srcId="{C950D69A-B4C4-4450-BCFC-84B629AA5A19}" destId="{C3DF81AB-B1E7-4911-A96B-89BDA8D12FCD}" srcOrd="2" destOrd="0" parTransId="{FD3BBE37-302D-4020-A4A6-24953DF5FF98}" sibTransId="{561C3878-050B-4EDB-B23C-AFBB31A7F42F}"/>
    <dgm:cxn modelId="{1E7FA22A-45B1-4973-A946-3071E39D5BB5}" srcId="{C950D69A-B4C4-4450-BCFC-84B629AA5A19}" destId="{2C4B7335-B467-4918-B668-3524E374C463}" srcOrd="0" destOrd="0" parTransId="{C36DEB12-EA22-45C4-9E1C-1DACA284DEF0}" sibTransId="{B130EE0F-BA0B-4A94-9F91-B9614EBC16D2}"/>
    <dgm:cxn modelId="{B2C5F22A-1154-4396-B85D-6D2890494171}" srcId="{C950D69A-B4C4-4450-BCFC-84B629AA5A19}" destId="{6ADB4DF6-ABB6-418E-B184-DFA82A0FA5D7}" srcOrd="1" destOrd="0" parTransId="{D32006BC-5049-47C9-872B-BC6264BC4320}" sibTransId="{896CC959-BCFF-43D2-BF06-6EE1B9338ECD}"/>
    <dgm:cxn modelId="{2ED1FF41-6F69-4352-A02E-9D9F9AD1A42E}" type="presOf" srcId="{C950D69A-B4C4-4450-BCFC-84B629AA5A19}" destId="{963F6DFE-6996-487C-8994-4DDCF160D8DA}" srcOrd="0" destOrd="0" presId="urn:microsoft.com/office/officeart/2005/8/layout/vList2"/>
    <dgm:cxn modelId="{5F70ACA8-D755-4C59-970B-9DF340BDBE16}" type="presOf" srcId="{C3DF81AB-B1E7-4911-A96B-89BDA8D12FCD}" destId="{B405DF18-C403-4EF0-AEB4-ADB4779EBB5A}" srcOrd="0" destOrd="0" presId="urn:microsoft.com/office/officeart/2005/8/layout/vList2"/>
    <dgm:cxn modelId="{9D55BDA9-9538-41D1-A672-6CDD820F0E15}" type="presOf" srcId="{2C4B7335-B467-4918-B668-3524E374C463}" destId="{6C3C3109-A4B9-4C66-9825-7FC920D24281}" srcOrd="0" destOrd="0" presId="urn:microsoft.com/office/officeart/2005/8/layout/vList2"/>
    <dgm:cxn modelId="{7E3D95B1-026C-444D-92AA-13FF74A40027}" type="presOf" srcId="{6ADB4DF6-ABB6-418E-B184-DFA82A0FA5D7}" destId="{940AAA97-0AD4-43AE-8A9E-D67C5192BF98}" srcOrd="0" destOrd="0" presId="urn:microsoft.com/office/officeart/2005/8/layout/vList2"/>
    <dgm:cxn modelId="{BBC539D5-F1C8-48C6-B2B9-5DB6657BE048}" srcId="{C950D69A-B4C4-4450-BCFC-84B629AA5A19}" destId="{674276A8-5429-479B-8CEE-FEF0863C4011}" srcOrd="3" destOrd="0" parTransId="{FD135FB4-BC70-4D2F-ADDB-ECE1A9F1E2BD}" sibTransId="{7E5869E8-F9B4-45D7-8A89-C2888CC9C83A}"/>
    <dgm:cxn modelId="{AFEB12D7-4285-4C60-A5AC-3659C9B974A6}" type="presOf" srcId="{674276A8-5429-479B-8CEE-FEF0863C4011}" destId="{769C1E20-379B-47E6-908D-ECB246999F97}" srcOrd="0" destOrd="0" presId="urn:microsoft.com/office/officeart/2005/8/layout/vList2"/>
    <dgm:cxn modelId="{DBD98EBF-4DA9-40AF-ABF4-9019FA86069D}" type="presParOf" srcId="{963F6DFE-6996-487C-8994-4DDCF160D8DA}" destId="{6C3C3109-A4B9-4C66-9825-7FC920D24281}" srcOrd="0" destOrd="0" presId="urn:microsoft.com/office/officeart/2005/8/layout/vList2"/>
    <dgm:cxn modelId="{9D7B2774-F04C-4C3B-85F6-534D4AB53C5D}" type="presParOf" srcId="{963F6DFE-6996-487C-8994-4DDCF160D8DA}" destId="{16C69748-D113-4CEC-BB7E-5FC5DA593B12}" srcOrd="1" destOrd="0" presId="urn:microsoft.com/office/officeart/2005/8/layout/vList2"/>
    <dgm:cxn modelId="{81AE000C-B461-4A95-A457-829DDA6C7129}" type="presParOf" srcId="{963F6DFE-6996-487C-8994-4DDCF160D8DA}" destId="{940AAA97-0AD4-43AE-8A9E-D67C5192BF98}" srcOrd="2" destOrd="0" presId="urn:microsoft.com/office/officeart/2005/8/layout/vList2"/>
    <dgm:cxn modelId="{40B08186-04AF-43F5-BAD1-4E6059722582}" type="presParOf" srcId="{963F6DFE-6996-487C-8994-4DDCF160D8DA}" destId="{5A51948E-30D8-4094-8A73-8B96D142FBC9}" srcOrd="3" destOrd="0" presId="urn:microsoft.com/office/officeart/2005/8/layout/vList2"/>
    <dgm:cxn modelId="{C4ED84BD-230C-426D-8451-B02F993255D8}" type="presParOf" srcId="{963F6DFE-6996-487C-8994-4DDCF160D8DA}" destId="{B405DF18-C403-4EF0-AEB4-ADB4779EBB5A}" srcOrd="4" destOrd="0" presId="urn:microsoft.com/office/officeart/2005/8/layout/vList2"/>
    <dgm:cxn modelId="{32A3492E-9D92-4553-A0B7-D91F55B1CFD8}" type="presParOf" srcId="{963F6DFE-6996-487C-8994-4DDCF160D8DA}" destId="{93E08F4F-88C4-4546-9F28-41A70D945209}" srcOrd="5" destOrd="0" presId="urn:microsoft.com/office/officeart/2005/8/layout/vList2"/>
    <dgm:cxn modelId="{071F5622-16F0-4D7D-9B0B-09FEAC929FA6}" type="presParOf" srcId="{963F6DFE-6996-487C-8994-4DDCF160D8DA}" destId="{769C1E20-379B-47E6-908D-ECB246999F97}"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FBE75E8-746F-499D-A86E-B2D332C6E2C7}" type="doc">
      <dgm:prSet loTypeId="urn:microsoft.com/office/officeart/2005/8/layout/hList1" loCatId="list" qsTypeId="urn:microsoft.com/office/officeart/2005/8/quickstyle/simple5" qsCatId="simple" csTypeId="urn:microsoft.com/office/officeart/2005/8/colors/colorful2" csCatId="colorful" phldr="1"/>
      <dgm:spPr/>
      <dgm:t>
        <a:bodyPr/>
        <a:lstStyle/>
        <a:p>
          <a:endParaRPr lang="en-US"/>
        </a:p>
      </dgm:t>
    </dgm:pt>
    <dgm:pt modelId="{B8D43C61-444E-4D46-8203-C4641DF7F65C}">
      <dgm:prSet custT="1"/>
      <dgm:spPr/>
      <dgm:t>
        <a:bodyPr/>
        <a:lstStyle/>
        <a:p>
          <a:r>
            <a:rPr lang="en-US" sz="2400" baseline="0" dirty="0"/>
            <a:t>Before Query Store</a:t>
          </a:r>
          <a:endParaRPr lang="en-US" sz="2400" dirty="0"/>
        </a:p>
      </dgm:t>
    </dgm:pt>
    <dgm:pt modelId="{9053780D-0BBD-4C41-B6E0-BD9E2762F44F}" type="parTrans" cxnId="{27C58C86-741F-454E-963A-A1ED19AAAC79}">
      <dgm:prSet/>
      <dgm:spPr/>
      <dgm:t>
        <a:bodyPr/>
        <a:lstStyle/>
        <a:p>
          <a:endParaRPr lang="en-US"/>
        </a:p>
      </dgm:t>
    </dgm:pt>
    <dgm:pt modelId="{9E5884B5-0D7E-42AC-8646-091133669794}" type="sibTrans" cxnId="{27C58C86-741F-454E-963A-A1ED19AAAC79}">
      <dgm:prSet/>
      <dgm:spPr/>
      <dgm:t>
        <a:bodyPr/>
        <a:lstStyle/>
        <a:p>
          <a:endParaRPr lang="en-US"/>
        </a:p>
      </dgm:t>
    </dgm:pt>
    <dgm:pt modelId="{BB77CBAA-BAC2-4F25-9252-CDF9FE2D2440}">
      <dgm:prSet custT="1"/>
      <dgm:spPr/>
      <dgm:t>
        <a:bodyPr/>
        <a:lstStyle/>
        <a:p>
          <a:r>
            <a:rPr lang="en-US" sz="2400" dirty="0"/>
            <a:t>Requires manual proactive monitoring to identify execution plan problems.</a:t>
          </a:r>
        </a:p>
      </dgm:t>
    </dgm:pt>
    <dgm:pt modelId="{5D06DB20-2870-432B-B8D7-FBB3329BC4E5}" type="parTrans" cxnId="{39198460-6832-42D5-84E3-D75D467DEF1C}">
      <dgm:prSet/>
      <dgm:spPr/>
      <dgm:t>
        <a:bodyPr/>
        <a:lstStyle/>
        <a:p>
          <a:endParaRPr lang="en-US"/>
        </a:p>
      </dgm:t>
    </dgm:pt>
    <dgm:pt modelId="{CD69DFF8-6A86-465E-A914-C97718DB38AC}" type="sibTrans" cxnId="{39198460-6832-42D5-84E3-D75D467DEF1C}">
      <dgm:prSet/>
      <dgm:spPr/>
      <dgm:t>
        <a:bodyPr/>
        <a:lstStyle/>
        <a:p>
          <a:endParaRPr lang="en-US"/>
        </a:p>
      </dgm:t>
    </dgm:pt>
    <dgm:pt modelId="{537A3CB7-E5E1-4790-985B-DA13D7D2AEA1}">
      <dgm:prSet custT="1"/>
      <dgm:spPr/>
      <dgm:t>
        <a:bodyPr/>
        <a:lstStyle/>
        <a:p>
          <a:r>
            <a:rPr lang="en-US" sz="2400" baseline="0" dirty="0"/>
            <a:t>Only the latest plan was stored in the procedure cache</a:t>
          </a:r>
          <a:endParaRPr lang="en-US" sz="2400" dirty="0"/>
        </a:p>
      </dgm:t>
    </dgm:pt>
    <dgm:pt modelId="{B4341261-0A08-4808-B537-46D63F9B47AC}" type="parTrans" cxnId="{5B122083-896C-4BAB-ABCC-36E82BD875C8}">
      <dgm:prSet/>
      <dgm:spPr/>
      <dgm:t>
        <a:bodyPr/>
        <a:lstStyle/>
        <a:p>
          <a:endParaRPr lang="en-US"/>
        </a:p>
      </dgm:t>
    </dgm:pt>
    <dgm:pt modelId="{B8058058-DDFC-4569-B150-59146E9EA175}" type="sibTrans" cxnId="{5B122083-896C-4BAB-ABCC-36E82BD875C8}">
      <dgm:prSet/>
      <dgm:spPr/>
      <dgm:t>
        <a:bodyPr/>
        <a:lstStyle/>
        <a:p>
          <a:endParaRPr lang="en-US"/>
        </a:p>
      </dgm:t>
    </dgm:pt>
    <dgm:pt modelId="{10D8AC69-0B74-4EB4-8DFB-8B94B153163A}">
      <dgm:prSet custT="1"/>
      <dgm:spPr/>
      <dgm:t>
        <a:bodyPr/>
        <a:lstStyle/>
        <a:p>
          <a:r>
            <a:rPr lang="en-US" sz="2400" baseline="0" dirty="0"/>
            <a:t>Restart caused data to be lost</a:t>
          </a:r>
          <a:endParaRPr lang="en-US" sz="2400" dirty="0"/>
        </a:p>
      </dgm:t>
    </dgm:pt>
    <dgm:pt modelId="{1865415B-C9CE-4585-A07D-4BE9EF265185}" type="parTrans" cxnId="{81093CBB-65DA-429F-B3A8-E37C907F45F8}">
      <dgm:prSet/>
      <dgm:spPr/>
      <dgm:t>
        <a:bodyPr/>
        <a:lstStyle/>
        <a:p>
          <a:endParaRPr lang="en-US"/>
        </a:p>
      </dgm:t>
    </dgm:pt>
    <dgm:pt modelId="{8C46AFC3-D3B0-4691-9EA5-ACEEAF03140C}" type="sibTrans" cxnId="{81093CBB-65DA-429F-B3A8-E37C907F45F8}">
      <dgm:prSet/>
      <dgm:spPr/>
      <dgm:t>
        <a:bodyPr/>
        <a:lstStyle/>
        <a:p>
          <a:endParaRPr lang="en-US"/>
        </a:p>
      </dgm:t>
    </dgm:pt>
    <dgm:pt modelId="{D739869A-0F1D-4AD3-9A40-3EA24E038514}">
      <dgm:prSet custT="1"/>
      <dgm:spPr/>
      <dgm:t>
        <a:bodyPr/>
        <a:lstStyle/>
        <a:p>
          <a:r>
            <a:rPr lang="en-US" sz="2400" baseline="0" dirty="0"/>
            <a:t>No history or aggregated gathering of data available.</a:t>
          </a:r>
          <a:endParaRPr lang="en-US" sz="2400" dirty="0"/>
        </a:p>
      </dgm:t>
    </dgm:pt>
    <dgm:pt modelId="{D0B48814-2511-45A1-A196-56B641164435}" type="parTrans" cxnId="{AA4D8AC2-BCFF-4C39-AD7B-D2353DFA0CD5}">
      <dgm:prSet/>
      <dgm:spPr/>
      <dgm:t>
        <a:bodyPr/>
        <a:lstStyle/>
        <a:p>
          <a:endParaRPr lang="en-US"/>
        </a:p>
      </dgm:t>
    </dgm:pt>
    <dgm:pt modelId="{59728870-D2B8-4C95-ABF8-C374F6680319}" type="sibTrans" cxnId="{AA4D8AC2-BCFF-4C39-AD7B-D2353DFA0CD5}">
      <dgm:prSet/>
      <dgm:spPr/>
      <dgm:t>
        <a:bodyPr/>
        <a:lstStyle/>
        <a:p>
          <a:endParaRPr lang="en-US"/>
        </a:p>
      </dgm:t>
    </dgm:pt>
    <dgm:pt modelId="{E38E5E12-F27D-4C86-BDD7-9EE68F87C37A}">
      <dgm:prSet custT="1"/>
      <dgm:spPr/>
      <dgm:t>
        <a:bodyPr/>
        <a:lstStyle/>
        <a:p>
          <a:r>
            <a:rPr lang="en-US" sz="2400" dirty="0"/>
            <a:t>Frequent recompiles of procedures or use of DBCC FREEPROCACHE</a:t>
          </a:r>
        </a:p>
      </dgm:t>
    </dgm:pt>
    <dgm:pt modelId="{688A2AE3-BD93-4F55-9ABE-A413E00DAE2C}" type="parTrans" cxnId="{221A323A-4A57-4C81-9669-85E17AADA53C}">
      <dgm:prSet/>
      <dgm:spPr/>
      <dgm:t>
        <a:bodyPr/>
        <a:lstStyle/>
        <a:p>
          <a:endParaRPr lang="en-US"/>
        </a:p>
      </dgm:t>
    </dgm:pt>
    <dgm:pt modelId="{150DD33F-97FF-4CA0-8BBE-AB859D3060FE}" type="sibTrans" cxnId="{221A323A-4A57-4C81-9669-85E17AADA53C}">
      <dgm:prSet/>
      <dgm:spPr/>
      <dgm:t>
        <a:bodyPr/>
        <a:lstStyle/>
        <a:p>
          <a:endParaRPr lang="en-US"/>
        </a:p>
      </dgm:t>
    </dgm:pt>
    <dgm:pt modelId="{D9B6BAAC-0B63-4D00-9071-3049825CE4DF}">
      <dgm:prSet custT="1"/>
      <dgm:spPr/>
      <dgm:t>
        <a:bodyPr/>
        <a:lstStyle/>
        <a:p>
          <a:r>
            <a:rPr lang="en-US" sz="2400"/>
            <a:t>It works across server restarts, upgrades, and query recompilation</a:t>
          </a:r>
          <a:endParaRPr lang="en-US" sz="2400" dirty="0"/>
        </a:p>
      </dgm:t>
    </dgm:pt>
    <dgm:pt modelId="{B51AB559-A448-4235-8405-E31B278559D5}" type="sibTrans" cxnId="{B6C17115-6362-4E74-A704-1E27E61644AD}">
      <dgm:prSet/>
      <dgm:spPr/>
      <dgm:t>
        <a:bodyPr/>
        <a:lstStyle/>
        <a:p>
          <a:endParaRPr lang="en-US"/>
        </a:p>
      </dgm:t>
    </dgm:pt>
    <dgm:pt modelId="{35DC8202-892A-4316-8A4F-9F2711987889}" type="parTrans" cxnId="{B6C17115-6362-4E74-A704-1E27E61644AD}">
      <dgm:prSet/>
      <dgm:spPr/>
      <dgm:t>
        <a:bodyPr/>
        <a:lstStyle/>
        <a:p>
          <a:endParaRPr lang="en-US"/>
        </a:p>
      </dgm:t>
    </dgm:pt>
    <dgm:pt modelId="{EA33F7BB-9DB6-4895-AED3-2EFF50EA879B}">
      <dgm:prSet custT="1"/>
      <dgm:spPr/>
      <dgm:t>
        <a:bodyPr/>
        <a:lstStyle/>
        <a:p>
          <a:r>
            <a:rPr lang="en-US" sz="2400" dirty="0"/>
            <a:t>With Query Store</a:t>
          </a:r>
        </a:p>
      </dgm:t>
    </dgm:pt>
    <dgm:pt modelId="{A0BB21BD-0995-4709-9B99-967C1D425F2F}" type="sibTrans" cxnId="{1CCADBAF-99F9-4C98-B4F6-67E304F972FF}">
      <dgm:prSet/>
      <dgm:spPr/>
      <dgm:t>
        <a:bodyPr/>
        <a:lstStyle/>
        <a:p>
          <a:endParaRPr lang="en-US"/>
        </a:p>
      </dgm:t>
    </dgm:pt>
    <dgm:pt modelId="{CD4452B7-70A5-465C-9738-63EC902152CB}" type="parTrans" cxnId="{1CCADBAF-99F9-4C98-B4F6-67E304F972FF}">
      <dgm:prSet/>
      <dgm:spPr/>
      <dgm:t>
        <a:bodyPr/>
        <a:lstStyle/>
        <a:p>
          <a:endParaRPr lang="en-US"/>
        </a:p>
      </dgm:t>
    </dgm:pt>
    <dgm:pt modelId="{3B888F1F-4DCE-4220-A5B6-263D63DD2740}">
      <dgm:prSet custT="1"/>
      <dgm:spPr/>
      <dgm:t>
        <a:bodyPr/>
        <a:lstStyle/>
        <a:p>
          <a:r>
            <a:rPr lang="en-US" sz="2400"/>
            <a:t>It stores the history of the execution plans for each query</a:t>
          </a:r>
          <a:endParaRPr lang="en-US" sz="2400" dirty="0"/>
        </a:p>
      </dgm:t>
    </dgm:pt>
    <dgm:pt modelId="{E4A1A934-0238-4612-8D9B-1A9F78035FAA}" type="sibTrans" cxnId="{00674137-93A4-4803-8F7B-34C9F7E48ACC}">
      <dgm:prSet/>
      <dgm:spPr/>
      <dgm:t>
        <a:bodyPr/>
        <a:lstStyle/>
        <a:p>
          <a:endParaRPr lang="en-US"/>
        </a:p>
      </dgm:t>
    </dgm:pt>
    <dgm:pt modelId="{3D7D4B14-6864-47F4-ACF8-11333CDC3AF5}" type="parTrans" cxnId="{00674137-93A4-4803-8F7B-34C9F7E48ACC}">
      <dgm:prSet/>
      <dgm:spPr/>
      <dgm:t>
        <a:bodyPr/>
        <a:lstStyle/>
        <a:p>
          <a:endParaRPr lang="en-US"/>
        </a:p>
      </dgm:t>
    </dgm:pt>
    <dgm:pt modelId="{956EF688-3D04-4307-B311-64B5417C5E66}">
      <dgm:prSet custT="1"/>
      <dgm:spPr/>
      <dgm:t>
        <a:bodyPr/>
        <a:lstStyle/>
        <a:p>
          <a:r>
            <a:rPr lang="en-US" sz="2400"/>
            <a:t>It establishes a performance baseline for each plan over time</a:t>
          </a:r>
          <a:endParaRPr lang="en-US" sz="2400" dirty="0"/>
        </a:p>
      </dgm:t>
    </dgm:pt>
    <dgm:pt modelId="{42E44964-0602-4B92-84EE-302AADEF124B}" type="sibTrans" cxnId="{4CB25709-3064-4090-8EEE-BE0CB23C933B}">
      <dgm:prSet/>
      <dgm:spPr/>
      <dgm:t>
        <a:bodyPr/>
        <a:lstStyle/>
        <a:p>
          <a:endParaRPr lang="en-US"/>
        </a:p>
      </dgm:t>
    </dgm:pt>
    <dgm:pt modelId="{544A0746-912A-492F-8D20-049272139CDC}" type="parTrans" cxnId="{4CB25709-3064-4090-8EEE-BE0CB23C933B}">
      <dgm:prSet/>
      <dgm:spPr/>
      <dgm:t>
        <a:bodyPr/>
        <a:lstStyle/>
        <a:p>
          <a:endParaRPr lang="en-US"/>
        </a:p>
      </dgm:t>
    </dgm:pt>
    <dgm:pt modelId="{B8252222-156E-4DA8-A1E7-2B0B5D067240}">
      <dgm:prSet custT="1"/>
      <dgm:spPr/>
      <dgm:t>
        <a:bodyPr/>
        <a:lstStyle/>
        <a:p>
          <a:r>
            <a:rPr lang="en-US" sz="2400" dirty="0"/>
            <a:t>It identifies queries that may have regressed</a:t>
          </a:r>
        </a:p>
      </dgm:t>
    </dgm:pt>
    <dgm:pt modelId="{DA368932-EE90-407B-8A5A-4949960287CE}" type="sibTrans" cxnId="{5E5D67FD-51B2-4D15-852D-31935C689E4E}">
      <dgm:prSet/>
      <dgm:spPr/>
      <dgm:t>
        <a:bodyPr/>
        <a:lstStyle/>
        <a:p>
          <a:endParaRPr lang="en-US"/>
        </a:p>
      </dgm:t>
    </dgm:pt>
    <dgm:pt modelId="{527083CD-5341-431A-B979-78A2DDE458B4}" type="parTrans" cxnId="{5E5D67FD-51B2-4D15-852D-31935C689E4E}">
      <dgm:prSet/>
      <dgm:spPr/>
      <dgm:t>
        <a:bodyPr/>
        <a:lstStyle/>
        <a:p>
          <a:endParaRPr lang="en-US"/>
        </a:p>
      </dgm:t>
    </dgm:pt>
    <dgm:pt modelId="{9B016B37-9B94-428F-91BD-F512BB4D13E3}">
      <dgm:prSet custT="1"/>
      <dgm:spPr/>
      <dgm:t>
        <a:bodyPr/>
        <a:lstStyle/>
        <a:p>
          <a:r>
            <a:rPr lang="en-US" sz="2400"/>
            <a:t>It is possible to force plans quickly and easily</a:t>
          </a:r>
          <a:endParaRPr lang="en-US" sz="2400" dirty="0"/>
        </a:p>
      </dgm:t>
    </dgm:pt>
    <dgm:pt modelId="{EEDA3721-B505-4AA8-BA26-4AB0EAE5A2E1}" type="sibTrans" cxnId="{948580F6-9A59-49B8-B134-E17B3457A00D}">
      <dgm:prSet/>
      <dgm:spPr/>
      <dgm:t>
        <a:bodyPr/>
        <a:lstStyle/>
        <a:p>
          <a:endParaRPr lang="en-US"/>
        </a:p>
      </dgm:t>
    </dgm:pt>
    <dgm:pt modelId="{95DC1BF7-C6F6-469F-B4B2-D733AD82E6C3}" type="parTrans" cxnId="{948580F6-9A59-49B8-B134-E17B3457A00D}">
      <dgm:prSet/>
      <dgm:spPr/>
      <dgm:t>
        <a:bodyPr/>
        <a:lstStyle/>
        <a:p>
          <a:endParaRPr lang="en-US"/>
        </a:p>
      </dgm:t>
    </dgm:pt>
    <dgm:pt modelId="{A4EA9A34-C325-4BE7-ABE4-06D8524565AB}" type="pres">
      <dgm:prSet presAssocID="{CFBE75E8-746F-499D-A86E-B2D332C6E2C7}" presName="Name0" presStyleCnt="0">
        <dgm:presLayoutVars>
          <dgm:dir/>
          <dgm:animLvl val="lvl"/>
          <dgm:resizeHandles val="exact"/>
        </dgm:presLayoutVars>
      </dgm:prSet>
      <dgm:spPr/>
    </dgm:pt>
    <dgm:pt modelId="{0C432329-A844-4222-B2CE-A62A50BB1907}" type="pres">
      <dgm:prSet presAssocID="{B8D43C61-444E-4D46-8203-C4641DF7F65C}" presName="composite" presStyleCnt="0"/>
      <dgm:spPr/>
    </dgm:pt>
    <dgm:pt modelId="{C779168E-09A7-4FC7-B2EB-4BF2B3280EEA}" type="pres">
      <dgm:prSet presAssocID="{B8D43C61-444E-4D46-8203-C4641DF7F65C}" presName="parTx" presStyleLbl="alignNode1" presStyleIdx="0" presStyleCnt="2">
        <dgm:presLayoutVars>
          <dgm:chMax val="0"/>
          <dgm:chPref val="0"/>
          <dgm:bulletEnabled val="1"/>
        </dgm:presLayoutVars>
      </dgm:prSet>
      <dgm:spPr/>
    </dgm:pt>
    <dgm:pt modelId="{AD82FA61-1850-4B59-B124-9E03954BAFF0}" type="pres">
      <dgm:prSet presAssocID="{B8D43C61-444E-4D46-8203-C4641DF7F65C}" presName="desTx" presStyleLbl="alignAccFollowNode1" presStyleIdx="0" presStyleCnt="2">
        <dgm:presLayoutVars>
          <dgm:bulletEnabled val="1"/>
        </dgm:presLayoutVars>
      </dgm:prSet>
      <dgm:spPr/>
    </dgm:pt>
    <dgm:pt modelId="{2F147288-9BCE-41AC-962C-58CDF06B9B26}" type="pres">
      <dgm:prSet presAssocID="{9E5884B5-0D7E-42AC-8646-091133669794}" presName="space" presStyleCnt="0"/>
      <dgm:spPr/>
    </dgm:pt>
    <dgm:pt modelId="{159F0336-7D69-4A08-981E-D8DB57B4C584}" type="pres">
      <dgm:prSet presAssocID="{EA33F7BB-9DB6-4895-AED3-2EFF50EA879B}" presName="composite" presStyleCnt="0"/>
      <dgm:spPr/>
    </dgm:pt>
    <dgm:pt modelId="{5B3159C4-B630-46CE-86BB-39F10831FF9C}" type="pres">
      <dgm:prSet presAssocID="{EA33F7BB-9DB6-4895-AED3-2EFF50EA879B}" presName="parTx" presStyleLbl="alignNode1" presStyleIdx="1" presStyleCnt="2">
        <dgm:presLayoutVars>
          <dgm:chMax val="0"/>
          <dgm:chPref val="0"/>
          <dgm:bulletEnabled val="1"/>
        </dgm:presLayoutVars>
      </dgm:prSet>
      <dgm:spPr/>
    </dgm:pt>
    <dgm:pt modelId="{821CDC50-C3A6-405C-AC50-7346C099707C}" type="pres">
      <dgm:prSet presAssocID="{EA33F7BB-9DB6-4895-AED3-2EFF50EA879B}" presName="desTx" presStyleLbl="alignAccFollowNode1" presStyleIdx="1" presStyleCnt="2">
        <dgm:presLayoutVars>
          <dgm:bulletEnabled val="1"/>
        </dgm:presLayoutVars>
      </dgm:prSet>
      <dgm:spPr/>
    </dgm:pt>
  </dgm:ptLst>
  <dgm:cxnLst>
    <dgm:cxn modelId="{4CB25709-3064-4090-8EEE-BE0CB23C933B}" srcId="{EA33F7BB-9DB6-4895-AED3-2EFF50EA879B}" destId="{956EF688-3D04-4307-B311-64B5417C5E66}" srcOrd="1" destOrd="0" parTransId="{544A0746-912A-492F-8D20-049272139CDC}" sibTransId="{42E44964-0602-4B92-84EE-302AADEF124B}"/>
    <dgm:cxn modelId="{37658213-B7E4-4F4F-9E07-423955BCFEAD}" type="presOf" srcId="{B8252222-156E-4DA8-A1E7-2B0B5D067240}" destId="{821CDC50-C3A6-405C-AC50-7346C099707C}" srcOrd="0" destOrd="2" presId="urn:microsoft.com/office/officeart/2005/8/layout/hList1"/>
    <dgm:cxn modelId="{40CE1714-8BA5-475A-AC96-890B99C317B5}" type="presOf" srcId="{3B888F1F-4DCE-4220-A5B6-263D63DD2740}" destId="{821CDC50-C3A6-405C-AC50-7346C099707C}" srcOrd="0" destOrd="0" presId="urn:microsoft.com/office/officeart/2005/8/layout/hList1"/>
    <dgm:cxn modelId="{B6C17115-6362-4E74-A704-1E27E61644AD}" srcId="{EA33F7BB-9DB6-4895-AED3-2EFF50EA879B}" destId="{D9B6BAAC-0B63-4D00-9071-3049825CE4DF}" srcOrd="4" destOrd="0" parTransId="{35DC8202-892A-4316-8A4F-9F2711987889}" sibTransId="{B51AB559-A448-4235-8405-E31B278559D5}"/>
    <dgm:cxn modelId="{37E69721-916D-4696-9B32-5D42D092DD15}" type="presOf" srcId="{CFBE75E8-746F-499D-A86E-B2D332C6E2C7}" destId="{A4EA9A34-C325-4BE7-ABE4-06D8524565AB}" srcOrd="0" destOrd="0" presId="urn:microsoft.com/office/officeart/2005/8/layout/hList1"/>
    <dgm:cxn modelId="{D9CBFA2B-D8F3-4F74-A7E7-2B148670610D}" type="presOf" srcId="{956EF688-3D04-4307-B311-64B5417C5E66}" destId="{821CDC50-C3A6-405C-AC50-7346C099707C}" srcOrd="0" destOrd="1" presId="urn:microsoft.com/office/officeart/2005/8/layout/hList1"/>
    <dgm:cxn modelId="{00674137-93A4-4803-8F7B-34C9F7E48ACC}" srcId="{EA33F7BB-9DB6-4895-AED3-2EFF50EA879B}" destId="{3B888F1F-4DCE-4220-A5B6-263D63DD2740}" srcOrd="0" destOrd="0" parTransId="{3D7D4B14-6864-47F4-ACF8-11333CDC3AF5}" sibTransId="{E4A1A934-0238-4612-8D9B-1A9F78035FAA}"/>
    <dgm:cxn modelId="{0E90B939-1FB4-4122-B976-C667BE46AE94}" type="presOf" srcId="{E38E5E12-F27D-4C86-BDD7-9EE68F87C37A}" destId="{AD82FA61-1850-4B59-B124-9E03954BAFF0}" srcOrd="0" destOrd="3" presId="urn:microsoft.com/office/officeart/2005/8/layout/hList1"/>
    <dgm:cxn modelId="{221A323A-4A57-4C81-9669-85E17AADA53C}" srcId="{B8D43C61-444E-4D46-8203-C4641DF7F65C}" destId="{E38E5E12-F27D-4C86-BDD7-9EE68F87C37A}" srcOrd="3" destOrd="0" parTransId="{688A2AE3-BD93-4F55-9ABE-A413E00DAE2C}" sibTransId="{150DD33F-97FF-4CA0-8BBE-AB859D3060FE}"/>
    <dgm:cxn modelId="{39198460-6832-42D5-84E3-D75D467DEF1C}" srcId="{B8D43C61-444E-4D46-8203-C4641DF7F65C}" destId="{BB77CBAA-BAC2-4F25-9252-CDF9FE2D2440}" srcOrd="0" destOrd="0" parTransId="{5D06DB20-2870-432B-B8D7-FBB3329BC4E5}" sibTransId="{CD69DFF8-6A86-465E-A914-C97718DB38AC}"/>
    <dgm:cxn modelId="{AB1B126B-228A-454C-AF08-B67534928D10}" type="presOf" srcId="{537A3CB7-E5E1-4790-985B-DA13D7D2AEA1}" destId="{AD82FA61-1850-4B59-B124-9E03954BAFF0}" srcOrd="0" destOrd="1" presId="urn:microsoft.com/office/officeart/2005/8/layout/hList1"/>
    <dgm:cxn modelId="{6039A350-5489-4141-A617-0A863EA2260F}" type="presOf" srcId="{9B016B37-9B94-428F-91BD-F512BB4D13E3}" destId="{821CDC50-C3A6-405C-AC50-7346C099707C}" srcOrd="0" destOrd="3" presId="urn:microsoft.com/office/officeart/2005/8/layout/hList1"/>
    <dgm:cxn modelId="{5B122083-896C-4BAB-ABCC-36E82BD875C8}" srcId="{B8D43C61-444E-4D46-8203-C4641DF7F65C}" destId="{537A3CB7-E5E1-4790-985B-DA13D7D2AEA1}" srcOrd="1" destOrd="0" parTransId="{B4341261-0A08-4808-B537-46D63F9B47AC}" sibTransId="{B8058058-DDFC-4569-B150-59146E9EA175}"/>
    <dgm:cxn modelId="{27C58C86-741F-454E-963A-A1ED19AAAC79}" srcId="{CFBE75E8-746F-499D-A86E-B2D332C6E2C7}" destId="{B8D43C61-444E-4D46-8203-C4641DF7F65C}" srcOrd="0" destOrd="0" parTransId="{9053780D-0BBD-4C41-B6E0-BD9E2762F44F}" sibTransId="{9E5884B5-0D7E-42AC-8646-091133669794}"/>
    <dgm:cxn modelId="{64DC3887-3121-45C5-A21D-B3F95BBD4FAA}" type="presOf" srcId="{D9B6BAAC-0B63-4D00-9071-3049825CE4DF}" destId="{821CDC50-C3A6-405C-AC50-7346C099707C}" srcOrd="0" destOrd="4" presId="urn:microsoft.com/office/officeart/2005/8/layout/hList1"/>
    <dgm:cxn modelId="{A2F85E8C-890F-401C-9577-51C5D88371F5}" type="presOf" srcId="{EA33F7BB-9DB6-4895-AED3-2EFF50EA879B}" destId="{5B3159C4-B630-46CE-86BB-39F10831FF9C}" srcOrd="0" destOrd="0" presId="urn:microsoft.com/office/officeart/2005/8/layout/hList1"/>
    <dgm:cxn modelId="{B22643A3-0B0C-485C-8E2F-256A7864AF26}" type="presOf" srcId="{BB77CBAA-BAC2-4F25-9252-CDF9FE2D2440}" destId="{AD82FA61-1850-4B59-B124-9E03954BAFF0}" srcOrd="0" destOrd="0" presId="urn:microsoft.com/office/officeart/2005/8/layout/hList1"/>
    <dgm:cxn modelId="{CEDB68AC-AC9C-4FEE-A74B-5D15A291304F}" type="presOf" srcId="{10D8AC69-0B74-4EB4-8DFB-8B94B153163A}" destId="{AD82FA61-1850-4B59-B124-9E03954BAFF0}" srcOrd="0" destOrd="2" presId="urn:microsoft.com/office/officeart/2005/8/layout/hList1"/>
    <dgm:cxn modelId="{1CCADBAF-99F9-4C98-B4F6-67E304F972FF}" srcId="{CFBE75E8-746F-499D-A86E-B2D332C6E2C7}" destId="{EA33F7BB-9DB6-4895-AED3-2EFF50EA879B}" srcOrd="1" destOrd="0" parTransId="{CD4452B7-70A5-465C-9738-63EC902152CB}" sibTransId="{A0BB21BD-0995-4709-9B99-967C1D425F2F}"/>
    <dgm:cxn modelId="{81093CBB-65DA-429F-B3A8-E37C907F45F8}" srcId="{B8D43C61-444E-4D46-8203-C4641DF7F65C}" destId="{10D8AC69-0B74-4EB4-8DFB-8B94B153163A}" srcOrd="2" destOrd="0" parTransId="{1865415B-C9CE-4585-A07D-4BE9EF265185}" sibTransId="{8C46AFC3-D3B0-4691-9EA5-ACEEAF03140C}"/>
    <dgm:cxn modelId="{AA4D8AC2-BCFF-4C39-AD7B-D2353DFA0CD5}" srcId="{B8D43C61-444E-4D46-8203-C4641DF7F65C}" destId="{D739869A-0F1D-4AD3-9A40-3EA24E038514}" srcOrd="4" destOrd="0" parTransId="{D0B48814-2511-45A1-A196-56B641164435}" sibTransId="{59728870-D2B8-4C95-ABF8-C374F6680319}"/>
    <dgm:cxn modelId="{9E12FFC2-4196-49A5-BCD2-43CD3BD3AF75}" type="presOf" srcId="{D739869A-0F1D-4AD3-9A40-3EA24E038514}" destId="{AD82FA61-1850-4B59-B124-9E03954BAFF0}" srcOrd="0" destOrd="4" presId="urn:microsoft.com/office/officeart/2005/8/layout/hList1"/>
    <dgm:cxn modelId="{4FBF38C8-349B-4C53-9BE5-6661B260CCA8}" type="presOf" srcId="{B8D43C61-444E-4D46-8203-C4641DF7F65C}" destId="{C779168E-09A7-4FC7-B2EB-4BF2B3280EEA}" srcOrd="0" destOrd="0" presId="urn:microsoft.com/office/officeart/2005/8/layout/hList1"/>
    <dgm:cxn modelId="{948580F6-9A59-49B8-B134-E17B3457A00D}" srcId="{EA33F7BB-9DB6-4895-AED3-2EFF50EA879B}" destId="{9B016B37-9B94-428F-91BD-F512BB4D13E3}" srcOrd="3" destOrd="0" parTransId="{95DC1BF7-C6F6-469F-B4B2-D733AD82E6C3}" sibTransId="{EEDA3721-B505-4AA8-BA26-4AB0EAE5A2E1}"/>
    <dgm:cxn modelId="{5E5D67FD-51B2-4D15-852D-31935C689E4E}" srcId="{EA33F7BB-9DB6-4895-AED3-2EFF50EA879B}" destId="{B8252222-156E-4DA8-A1E7-2B0B5D067240}" srcOrd="2" destOrd="0" parTransId="{527083CD-5341-431A-B979-78A2DDE458B4}" sibTransId="{DA368932-EE90-407B-8A5A-4949960287CE}"/>
    <dgm:cxn modelId="{760EC40C-2035-401E-A6AF-044BF6B7ED76}" type="presParOf" srcId="{A4EA9A34-C325-4BE7-ABE4-06D8524565AB}" destId="{0C432329-A844-4222-B2CE-A62A50BB1907}" srcOrd="0" destOrd="0" presId="urn:microsoft.com/office/officeart/2005/8/layout/hList1"/>
    <dgm:cxn modelId="{F93B079A-BE1D-4BDD-95EE-38302A5AEF95}" type="presParOf" srcId="{0C432329-A844-4222-B2CE-A62A50BB1907}" destId="{C779168E-09A7-4FC7-B2EB-4BF2B3280EEA}" srcOrd="0" destOrd="0" presId="urn:microsoft.com/office/officeart/2005/8/layout/hList1"/>
    <dgm:cxn modelId="{CBCCC80C-E6D1-4AC4-BA39-A005B4215BEB}" type="presParOf" srcId="{0C432329-A844-4222-B2CE-A62A50BB1907}" destId="{AD82FA61-1850-4B59-B124-9E03954BAFF0}" srcOrd="1" destOrd="0" presId="urn:microsoft.com/office/officeart/2005/8/layout/hList1"/>
    <dgm:cxn modelId="{AA0AACE9-98DD-4581-B2D8-3629A0DB9287}" type="presParOf" srcId="{A4EA9A34-C325-4BE7-ABE4-06D8524565AB}" destId="{2F147288-9BCE-41AC-962C-58CDF06B9B26}" srcOrd="1" destOrd="0" presId="urn:microsoft.com/office/officeart/2005/8/layout/hList1"/>
    <dgm:cxn modelId="{D9724796-EBAB-409C-B99D-63F036D4A168}" type="presParOf" srcId="{A4EA9A34-C325-4BE7-ABE4-06D8524565AB}" destId="{159F0336-7D69-4A08-981E-D8DB57B4C584}" srcOrd="2" destOrd="0" presId="urn:microsoft.com/office/officeart/2005/8/layout/hList1"/>
    <dgm:cxn modelId="{CC30C96D-EA9F-46D2-A724-5C43A0496369}" type="presParOf" srcId="{159F0336-7D69-4A08-981E-D8DB57B4C584}" destId="{5B3159C4-B630-46CE-86BB-39F10831FF9C}" srcOrd="0" destOrd="0" presId="urn:microsoft.com/office/officeart/2005/8/layout/hList1"/>
    <dgm:cxn modelId="{A288C90A-7A4F-4C6F-AA1B-00C5C721E44A}" type="presParOf" srcId="{159F0336-7D69-4A08-981E-D8DB57B4C584}" destId="{821CDC50-C3A6-405C-AC50-7346C099707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AU"/>
        </a:p>
      </dgm:t>
    </dgm:pt>
    <dgm:pt modelId="{CDCA19B1-3B45-4B24-8F19-085A650701BC}">
      <dgm:prSet/>
      <dgm:spPr/>
      <dgm:t>
        <a:bodyPr/>
        <a:lstStyle/>
        <a:p>
          <a:r>
            <a:rPr lang="en-US" dirty="0"/>
            <a:t>If upgrading from SQL Server 2012 to 2019. Which report should figure prominently in your upgrade plans?</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F359A0F-D022-4204-B253-380A4D716538}">
      <dgm:prSet/>
      <dgm:spPr/>
      <dgm:t>
        <a:bodyPr/>
        <a:lstStyle/>
        <a:p>
          <a:r>
            <a:rPr lang="en-US" dirty="0"/>
            <a:t>In a report’s bar chart what does each bar represent?</a:t>
          </a:r>
        </a:p>
      </dgm:t>
    </dgm:pt>
    <dgm:pt modelId="{1962363D-D9C0-4500-A001-DD20C43D2DAB}" type="parTrans" cxnId="{CAD6F6F0-6CE3-4621-8C83-0E248D241286}">
      <dgm:prSet/>
      <dgm:spPr/>
      <dgm:t>
        <a:bodyPr/>
        <a:lstStyle/>
        <a:p>
          <a:endParaRPr lang="en-US"/>
        </a:p>
      </dgm:t>
    </dgm:pt>
    <dgm:pt modelId="{6C309973-6C59-41BB-87D5-38C026BDD5D9}" type="sibTrans" cxnId="{CAD6F6F0-6CE3-4621-8C83-0E248D241286}">
      <dgm:prSet/>
      <dgm:spPr/>
      <dgm:t>
        <a:bodyPr/>
        <a:lstStyle/>
        <a:p>
          <a:endParaRPr lang="en-US"/>
        </a:p>
      </dgm:t>
    </dgm:pt>
    <dgm:pt modelId="{3519E021-E680-4807-A94F-BD6EDEC53B98}">
      <dgm:prSet/>
      <dgm:spPr/>
      <dgm:t>
        <a:bodyPr/>
        <a:lstStyle/>
        <a:p>
          <a:r>
            <a:rPr lang="en-US" dirty="0"/>
            <a:t> Which report can help troubleshoot a parameter sniffing issue?</a:t>
          </a:r>
        </a:p>
      </dgm:t>
    </dgm:pt>
    <dgm:pt modelId="{A3E0B19F-DF02-401C-97DE-63BD5208138C}" type="parTrans" cxnId="{B17E154A-F2A1-471F-AD81-772E99244E69}">
      <dgm:prSet/>
      <dgm:spPr/>
      <dgm:t>
        <a:bodyPr/>
        <a:lstStyle/>
        <a:p>
          <a:endParaRPr lang="en-US"/>
        </a:p>
      </dgm:t>
    </dgm:pt>
    <dgm:pt modelId="{78F20EE7-EBBF-45CF-9ADD-05F796FC8C26}" type="sibTrans" cxnId="{B17E154A-F2A1-471F-AD81-772E99244E69}">
      <dgm:prSet/>
      <dgm:spPr/>
      <dgm:t>
        <a:bodyPr/>
        <a:lstStyle/>
        <a:p>
          <a:endParaRPr lang="en-US"/>
        </a:p>
      </dgm:t>
    </dgm:pt>
    <dgm:pt modelId="{4DF8A291-91D3-4DE9-98EF-11F73A8421AB}">
      <dgm:prSet/>
      <dgm:spPr/>
      <dgm:t>
        <a:bodyPr/>
        <a:lstStyle/>
        <a:p>
          <a:r>
            <a:rPr lang="en-US" dirty="0"/>
            <a:t>Querying the wait statistics DMV it returns high PAGEIOLATCH waits. Which report can help identify queries with high IO wait times? </a:t>
          </a:r>
        </a:p>
      </dgm:t>
    </dgm:pt>
    <dgm:pt modelId="{F92315D5-5F3A-44D6-B84F-6162D4C839E3}" type="parTrans" cxnId="{102FEA3E-BE4D-4E41-A8AA-3E6B6503FC60}">
      <dgm:prSet/>
      <dgm:spPr/>
      <dgm:t>
        <a:bodyPr/>
        <a:lstStyle/>
        <a:p>
          <a:endParaRPr lang="en-US"/>
        </a:p>
      </dgm:t>
    </dgm:pt>
    <dgm:pt modelId="{0C5A89C8-A321-460D-84D6-579533B8DF7A}" type="sibTrans" cxnId="{102FEA3E-BE4D-4E41-A8AA-3E6B6503FC60}">
      <dgm:prSet/>
      <dgm:spPr/>
      <dgm:t>
        <a:bodyPr/>
        <a:lstStyle/>
        <a:p>
          <a:endParaRPr lang="en-US"/>
        </a:p>
      </dgm:t>
    </dgm:pt>
    <dgm:pt modelId="{DAC278A3-90B8-4B97-8B48-AA639BA83EAC}">
      <dgm:prSet/>
      <dgm:spPr/>
      <dgm:t>
        <a:bodyPr/>
        <a:lstStyle/>
        <a:p>
          <a:r>
            <a:rPr lang="en-US" dirty="0"/>
            <a:t>Someone has dropped an index needed by a forced plan. What happens the next time the query executes?  What happens if the index is recreated?</a:t>
          </a:r>
        </a:p>
      </dgm:t>
    </dgm:pt>
    <dgm:pt modelId="{86FF7577-EC67-463F-AE6C-337FDEFAEEDC}" type="parTrans" cxnId="{D41F6E6D-E7A0-43C3-B12B-08A614AFE39D}">
      <dgm:prSet/>
      <dgm:spPr/>
      <dgm:t>
        <a:bodyPr/>
        <a:lstStyle/>
        <a:p>
          <a:endParaRPr lang="en-US"/>
        </a:p>
      </dgm:t>
    </dgm:pt>
    <dgm:pt modelId="{5567B9D8-B7BE-4E39-935F-A80FB0945DDD}" type="sibTrans" cxnId="{D41F6E6D-E7A0-43C3-B12B-08A614AFE39D}">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90418C0-AEDD-4CE1-8472-B002093644D5}" type="pres">
      <dgm:prSet presAssocID="{CAE4D9F8-FDBB-4525-9125-6BAF56328FCE}" presName="spacer" presStyleCnt="0"/>
      <dgm:spPr/>
    </dgm:pt>
    <dgm:pt modelId="{54FE124D-C180-4875-9FE1-0D9AA94AA38B}" type="pres">
      <dgm:prSet presAssocID="{4F359A0F-D022-4204-B253-380A4D716538}" presName="parentText" presStyleLbl="node1" presStyleIdx="1" presStyleCnt="5">
        <dgm:presLayoutVars>
          <dgm:chMax val="0"/>
          <dgm:bulletEnabled val="1"/>
        </dgm:presLayoutVars>
      </dgm:prSet>
      <dgm:spPr/>
    </dgm:pt>
    <dgm:pt modelId="{F940E68E-E704-4814-BF89-065384CE8579}" type="pres">
      <dgm:prSet presAssocID="{6C309973-6C59-41BB-87D5-38C026BDD5D9}" presName="spacer" presStyleCnt="0"/>
      <dgm:spPr/>
    </dgm:pt>
    <dgm:pt modelId="{682F4D3A-F129-4AD8-A07B-7F06F695F982}" type="pres">
      <dgm:prSet presAssocID="{3519E021-E680-4807-A94F-BD6EDEC53B98}" presName="parentText" presStyleLbl="node1" presStyleIdx="2" presStyleCnt="5">
        <dgm:presLayoutVars>
          <dgm:chMax val="0"/>
          <dgm:bulletEnabled val="1"/>
        </dgm:presLayoutVars>
      </dgm:prSet>
      <dgm:spPr/>
    </dgm:pt>
    <dgm:pt modelId="{7BCEC22F-8D9D-45A0-AA4F-9816AAFE6D03}" type="pres">
      <dgm:prSet presAssocID="{78F20EE7-EBBF-45CF-9ADD-05F796FC8C26}" presName="spacer" presStyleCnt="0"/>
      <dgm:spPr/>
    </dgm:pt>
    <dgm:pt modelId="{CFAAB923-0A67-45D9-BB26-5D5037C1BD28}" type="pres">
      <dgm:prSet presAssocID="{4DF8A291-91D3-4DE9-98EF-11F73A8421AB}" presName="parentText" presStyleLbl="node1" presStyleIdx="3" presStyleCnt="5">
        <dgm:presLayoutVars>
          <dgm:chMax val="0"/>
          <dgm:bulletEnabled val="1"/>
        </dgm:presLayoutVars>
      </dgm:prSet>
      <dgm:spPr/>
    </dgm:pt>
    <dgm:pt modelId="{15A1B76A-0A7E-4B8E-A689-09C39E29719D}" type="pres">
      <dgm:prSet presAssocID="{0C5A89C8-A321-460D-84D6-579533B8DF7A}" presName="spacer" presStyleCnt="0"/>
      <dgm:spPr/>
    </dgm:pt>
    <dgm:pt modelId="{FB500A59-BA24-48C3-956B-D338A64B25A5}" type="pres">
      <dgm:prSet presAssocID="{DAC278A3-90B8-4B97-8B48-AA639BA83EAC}"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95D1360B-CA15-4D53-BB07-EE224471AD81}" type="presOf" srcId="{4F359A0F-D022-4204-B253-380A4D716538}" destId="{54FE124D-C180-4875-9FE1-0D9AA94AA38B}"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102FEA3E-BE4D-4E41-A8AA-3E6B6503FC60}" srcId="{15A7774C-B622-4F48-8F7B-AF1AAB74E997}" destId="{4DF8A291-91D3-4DE9-98EF-11F73A8421AB}" srcOrd="3" destOrd="0" parTransId="{F92315D5-5F3A-44D6-B84F-6162D4C839E3}" sibTransId="{0C5A89C8-A321-460D-84D6-579533B8DF7A}"/>
    <dgm:cxn modelId="{825BEE5E-690F-439C-B6D0-08A57A886B33}" type="presOf" srcId="{DAC278A3-90B8-4B97-8B48-AA639BA83EAC}" destId="{FB500A59-BA24-48C3-956B-D338A64B25A5}" srcOrd="0" destOrd="0" presId="urn:microsoft.com/office/officeart/2005/8/layout/vList2"/>
    <dgm:cxn modelId="{B17E154A-F2A1-471F-AD81-772E99244E69}" srcId="{15A7774C-B622-4F48-8F7B-AF1AAB74E997}" destId="{3519E021-E680-4807-A94F-BD6EDEC53B98}" srcOrd="2" destOrd="0" parTransId="{A3E0B19F-DF02-401C-97DE-63BD5208138C}" sibTransId="{78F20EE7-EBBF-45CF-9ADD-05F796FC8C26}"/>
    <dgm:cxn modelId="{D41F6E6D-E7A0-43C3-B12B-08A614AFE39D}" srcId="{15A7774C-B622-4F48-8F7B-AF1AAB74E997}" destId="{DAC278A3-90B8-4B97-8B48-AA639BA83EAC}" srcOrd="4" destOrd="0" parTransId="{86FF7577-EC67-463F-AE6C-337FDEFAEEDC}" sibTransId="{5567B9D8-B7BE-4E39-935F-A80FB0945DDD}"/>
    <dgm:cxn modelId="{1C34CC9F-A8AA-4CC5-BFA9-BD217587E10A}" type="presOf" srcId="{4DF8A291-91D3-4DE9-98EF-11F73A8421AB}" destId="{CFAAB923-0A67-45D9-BB26-5D5037C1BD28}" srcOrd="0" destOrd="0" presId="urn:microsoft.com/office/officeart/2005/8/layout/vList2"/>
    <dgm:cxn modelId="{F71EE7A1-0068-4E9A-B460-9191EBB5B245}" type="presOf" srcId="{3519E021-E680-4807-A94F-BD6EDEC53B98}" destId="{682F4D3A-F129-4AD8-A07B-7F06F695F982}"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CAD6F6F0-6CE3-4621-8C83-0E248D241286}" srcId="{15A7774C-B622-4F48-8F7B-AF1AAB74E997}" destId="{4F359A0F-D022-4204-B253-380A4D716538}" srcOrd="1" destOrd="0" parTransId="{1962363D-D9C0-4500-A001-DD20C43D2DAB}" sibTransId="{6C309973-6C59-41BB-87D5-38C026BDD5D9}"/>
    <dgm:cxn modelId="{8DEFA225-8389-4C32-8391-464D66A4B297}" type="presParOf" srcId="{97400BD5-14CE-4761-8A6A-64BC46D23158}" destId="{86989247-99F6-4AF2-B76D-35A7CDAFD370}" srcOrd="0" destOrd="0" presId="urn:microsoft.com/office/officeart/2005/8/layout/vList2"/>
    <dgm:cxn modelId="{B5A6833A-37E4-41C9-8472-812591201789}" type="presParOf" srcId="{97400BD5-14CE-4761-8A6A-64BC46D23158}" destId="{C90418C0-AEDD-4CE1-8472-B002093644D5}" srcOrd="1" destOrd="0" presId="urn:microsoft.com/office/officeart/2005/8/layout/vList2"/>
    <dgm:cxn modelId="{FB7DC263-FD9F-43F8-9A16-6CB6E319EEBD}" type="presParOf" srcId="{97400BD5-14CE-4761-8A6A-64BC46D23158}" destId="{54FE124D-C180-4875-9FE1-0D9AA94AA38B}" srcOrd="2" destOrd="0" presId="urn:microsoft.com/office/officeart/2005/8/layout/vList2"/>
    <dgm:cxn modelId="{1C24F21E-352A-410B-B61B-F220482267D8}" type="presParOf" srcId="{97400BD5-14CE-4761-8A6A-64BC46D23158}" destId="{F940E68E-E704-4814-BF89-065384CE8579}" srcOrd="3" destOrd="0" presId="urn:microsoft.com/office/officeart/2005/8/layout/vList2"/>
    <dgm:cxn modelId="{89016EEB-39DD-4179-BCED-C24002986D72}" type="presParOf" srcId="{97400BD5-14CE-4761-8A6A-64BC46D23158}" destId="{682F4D3A-F129-4AD8-A07B-7F06F695F982}" srcOrd="4" destOrd="0" presId="urn:microsoft.com/office/officeart/2005/8/layout/vList2"/>
    <dgm:cxn modelId="{86A887C3-9AA2-4DF3-A332-3B77F0848AAD}" type="presParOf" srcId="{97400BD5-14CE-4761-8A6A-64BC46D23158}" destId="{7BCEC22F-8D9D-45A0-AA4F-9816AAFE6D03}" srcOrd="5" destOrd="0" presId="urn:microsoft.com/office/officeart/2005/8/layout/vList2"/>
    <dgm:cxn modelId="{24FD4CE3-8AC2-4724-9C01-FF5B71C224C1}" type="presParOf" srcId="{97400BD5-14CE-4761-8A6A-64BC46D23158}" destId="{CFAAB923-0A67-45D9-BB26-5D5037C1BD28}" srcOrd="6" destOrd="0" presId="urn:microsoft.com/office/officeart/2005/8/layout/vList2"/>
    <dgm:cxn modelId="{30FF31EB-0AD6-40BA-88CC-D93174B730C2}" type="presParOf" srcId="{97400BD5-14CE-4761-8A6A-64BC46D23158}" destId="{15A1B76A-0A7E-4B8E-A689-09C39E29719D}" srcOrd="7" destOrd="0" presId="urn:microsoft.com/office/officeart/2005/8/layout/vList2"/>
    <dgm:cxn modelId="{6EDBA40E-107E-4B0D-9255-E01FBEB0F69E}" type="presParOf" srcId="{97400BD5-14CE-4761-8A6A-64BC46D23158}" destId="{FB500A59-BA24-48C3-956B-D338A64B25A5}"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DC64D99-DC14-45ED-ACD8-196ACB7487FF}"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D361EF34-AA93-443D-93E5-3670F8F963E8}">
      <dgm:prSet custT="1"/>
      <dgm:spPr/>
      <dgm:t>
        <a:bodyPr/>
        <a:lstStyle/>
        <a:p>
          <a:pPr algn="l"/>
          <a:r>
            <a:rPr lang="en-US" sz="2600" b="1" baseline="0">
              <a:latin typeface="Segoe UI" panose="020B0502040204020203" pitchFamily="34" charset="0"/>
            </a:rPr>
            <a:t>Object plans:</a:t>
          </a:r>
          <a:endParaRPr lang="en-US" sz="2600" dirty="0">
            <a:latin typeface="Segoe UI" panose="020B0502040204020203" pitchFamily="34" charset="0"/>
          </a:endParaRPr>
        </a:p>
      </dgm:t>
    </dgm:pt>
    <dgm:pt modelId="{570F5F94-0C1E-4AE6-A04F-FD9228AAE894}" type="parTrans" cxnId="{76408C05-28D1-4B98-8455-EDACB4378D07}">
      <dgm:prSet/>
      <dgm:spPr/>
      <dgm:t>
        <a:bodyPr/>
        <a:lstStyle/>
        <a:p>
          <a:endParaRPr lang="en-US"/>
        </a:p>
      </dgm:t>
    </dgm:pt>
    <dgm:pt modelId="{AC592F00-D24D-4360-8C51-291AD1CD55DB}" type="sibTrans" cxnId="{76408C05-28D1-4B98-8455-EDACB4378D07}">
      <dgm:prSet/>
      <dgm:spPr/>
      <dgm:t>
        <a:bodyPr/>
        <a:lstStyle/>
        <a:p>
          <a:endParaRPr lang="en-US"/>
        </a:p>
      </dgm:t>
    </dgm:pt>
    <dgm:pt modelId="{21D36665-36B8-4E1A-B761-7A539DDEF4BF}">
      <dgm:prSet custT="1"/>
      <dgm:spPr/>
      <dgm:t>
        <a:bodyPr/>
        <a:lstStyle/>
        <a:p>
          <a:pPr algn="l"/>
          <a:r>
            <a:rPr lang="en-US" sz="2600" b="1" baseline="0">
              <a:latin typeface="Segoe UI" panose="020B0502040204020203" pitchFamily="34" charset="0"/>
            </a:rPr>
            <a:t>SQL Plans</a:t>
          </a:r>
          <a:r>
            <a:rPr lang="en-US" sz="2600" baseline="0">
              <a:latin typeface="Segoe UI" panose="020B0502040204020203" pitchFamily="34" charset="0"/>
            </a:rPr>
            <a:t>:</a:t>
          </a:r>
          <a:endParaRPr lang="en-US" sz="2600" dirty="0">
            <a:latin typeface="Segoe UI" panose="020B0502040204020203" pitchFamily="34" charset="0"/>
          </a:endParaRPr>
        </a:p>
      </dgm:t>
    </dgm:pt>
    <dgm:pt modelId="{DC8C7D86-B735-4697-B630-BEA11ABE4424}" type="parTrans" cxnId="{218B716A-C104-4D40-8713-EFE06A6BC2F8}">
      <dgm:prSet/>
      <dgm:spPr/>
      <dgm:t>
        <a:bodyPr/>
        <a:lstStyle/>
        <a:p>
          <a:endParaRPr lang="en-US"/>
        </a:p>
      </dgm:t>
    </dgm:pt>
    <dgm:pt modelId="{9D901686-5DA0-4AAD-8CAD-302CDBB18971}" type="sibTrans" cxnId="{218B716A-C104-4D40-8713-EFE06A6BC2F8}">
      <dgm:prSet/>
      <dgm:spPr/>
      <dgm:t>
        <a:bodyPr/>
        <a:lstStyle/>
        <a:p>
          <a:endParaRPr lang="en-US"/>
        </a:p>
      </dgm:t>
    </dgm:pt>
    <dgm:pt modelId="{50A13C86-4901-482A-9B40-DB6A59B6A446}">
      <dgm:prSet custT="1"/>
      <dgm:spPr/>
      <dgm:t>
        <a:bodyPr/>
        <a:lstStyle/>
        <a:p>
          <a:pPr algn="l"/>
          <a:r>
            <a:rPr lang="en-US" sz="2600" b="1" baseline="0">
              <a:latin typeface="Segoe UI" panose="020B0502040204020203" pitchFamily="34" charset="0"/>
            </a:rPr>
            <a:t>Other</a:t>
          </a:r>
          <a:r>
            <a:rPr lang="en-US" sz="2600" baseline="0">
              <a:latin typeface="Segoe UI" panose="020B0502040204020203" pitchFamily="34" charset="0"/>
            </a:rPr>
            <a:t>:</a:t>
          </a:r>
          <a:endParaRPr lang="en-US" sz="2600" dirty="0">
            <a:latin typeface="Segoe UI" panose="020B0502040204020203" pitchFamily="34" charset="0"/>
          </a:endParaRPr>
        </a:p>
      </dgm:t>
    </dgm:pt>
    <dgm:pt modelId="{6BD1D617-3F2A-4BB0-A0B6-55B22E7AD3C8}" type="parTrans" cxnId="{514ACDA8-4B7A-41C3-A60C-1E3475D7CB14}">
      <dgm:prSet/>
      <dgm:spPr/>
      <dgm:t>
        <a:bodyPr/>
        <a:lstStyle/>
        <a:p>
          <a:endParaRPr lang="en-US"/>
        </a:p>
      </dgm:t>
    </dgm:pt>
    <dgm:pt modelId="{6975A828-1E1C-4BAE-A94B-F6C6281A7655}" type="sibTrans" cxnId="{514ACDA8-4B7A-41C3-A60C-1E3475D7CB14}">
      <dgm:prSet/>
      <dgm:spPr/>
      <dgm:t>
        <a:bodyPr/>
        <a:lstStyle/>
        <a:p>
          <a:endParaRPr lang="en-US"/>
        </a:p>
      </dgm:t>
    </dgm:pt>
    <dgm:pt modelId="{EEBBD178-21FD-4E50-8B07-1CB3FB93D9B9}">
      <dgm:prSet custT="1"/>
      <dgm:spPr/>
      <dgm:t>
        <a:bodyPr/>
        <a:lstStyle/>
        <a:p>
          <a:pPr algn="l"/>
          <a:r>
            <a:rPr lang="en-US" sz="2600" b="1" baseline="0">
              <a:latin typeface="Segoe UI" panose="020B0502040204020203" pitchFamily="34" charset="0"/>
            </a:rPr>
            <a:t>Granularity:</a:t>
          </a:r>
          <a:endParaRPr lang="en-US" sz="2600" dirty="0">
            <a:latin typeface="Segoe UI" panose="020B0502040204020203" pitchFamily="34" charset="0"/>
          </a:endParaRPr>
        </a:p>
      </dgm:t>
    </dgm:pt>
    <dgm:pt modelId="{8D0E2266-D0A3-419E-993A-955C1E399A5C}" type="parTrans" cxnId="{E9B0EC74-DA2B-4452-8966-DA1CE4C81CFC}">
      <dgm:prSet/>
      <dgm:spPr/>
      <dgm:t>
        <a:bodyPr/>
        <a:lstStyle/>
        <a:p>
          <a:endParaRPr lang="en-US"/>
        </a:p>
      </dgm:t>
    </dgm:pt>
    <dgm:pt modelId="{9080C3CD-2383-4B0F-B7B7-8EA04BEB6E8C}" type="sibTrans" cxnId="{E9B0EC74-DA2B-4452-8966-DA1CE4C81CFC}">
      <dgm:prSet/>
      <dgm:spPr/>
      <dgm:t>
        <a:bodyPr/>
        <a:lstStyle/>
        <a:p>
          <a:endParaRPr lang="en-US"/>
        </a:p>
      </dgm:t>
    </dgm:pt>
    <dgm:pt modelId="{47A30BBB-20B9-4FAE-A1AB-F85589858764}">
      <dgm:prSet custT="1"/>
      <dgm:spPr/>
      <dgm:t>
        <a:bodyPr/>
        <a:lstStyle/>
        <a:p>
          <a:pPr algn="l"/>
          <a:r>
            <a:rPr lang="en-US" sz="2000" baseline="0">
              <a:latin typeface="Segoe UI" panose="020B0502040204020203" pitchFamily="34" charset="0"/>
            </a:rPr>
            <a:t>Stored procedures, functions, triggers</a:t>
          </a:r>
          <a:endParaRPr lang="en-US" sz="2000" dirty="0">
            <a:latin typeface="Segoe UI" panose="020B0502040204020203" pitchFamily="34" charset="0"/>
          </a:endParaRPr>
        </a:p>
      </dgm:t>
    </dgm:pt>
    <dgm:pt modelId="{59C67F32-D4F3-4939-81D2-3DC0F885F0F0}" type="parTrans" cxnId="{5CA208F1-8B73-40F3-8425-C14F286827FE}">
      <dgm:prSet/>
      <dgm:spPr/>
      <dgm:t>
        <a:bodyPr/>
        <a:lstStyle/>
        <a:p>
          <a:endParaRPr lang="en-US"/>
        </a:p>
      </dgm:t>
    </dgm:pt>
    <dgm:pt modelId="{E33C7D65-588F-4BD5-B7D6-1CFFB4401037}" type="sibTrans" cxnId="{5CA208F1-8B73-40F3-8425-C14F286827FE}">
      <dgm:prSet/>
      <dgm:spPr/>
      <dgm:t>
        <a:bodyPr/>
        <a:lstStyle/>
        <a:p>
          <a:endParaRPr lang="en-US"/>
        </a:p>
      </dgm:t>
    </dgm:pt>
    <dgm:pt modelId="{9DFC4E6B-8749-4799-80B9-97A670602A70}">
      <dgm:prSet custT="1"/>
      <dgm:spPr/>
      <dgm:t>
        <a:bodyPr/>
        <a:lstStyle/>
        <a:p>
          <a:pPr algn="l"/>
          <a:r>
            <a:rPr lang="en-US" sz="2000" baseline="0" dirty="0">
              <a:latin typeface="Segoe UI" panose="020B0502040204020203" pitchFamily="34" charset="0"/>
            </a:rPr>
            <a:t>Prepared plans and </a:t>
          </a:r>
          <a:r>
            <a:rPr lang="en-US" sz="2000" i="1" baseline="0" dirty="0">
              <a:latin typeface="Segoe UI" panose="020B0502040204020203" pitchFamily="34" charset="0"/>
            </a:rPr>
            <a:t>ad hoc </a:t>
          </a:r>
          <a:r>
            <a:rPr lang="en-US" sz="2000" baseline="0" dirty="0">
              <a:latin typeface="Segoe UI" panose="020B0502040204020203" pitchFamily="34" charset="0"/>
            </a:rPr>
            <a:t>plans</a:t>
          </a:r>
          <a:endParaRPr lang="en-US" sz="2000" dirty="0">
            <a:latin typeface="Segoe UI" panose="020B0502040204020203" pitchFamily="34" charset="0"/>
          </a:endParaRPr>
        </a:p>
      </dgm:t>
    </dgm:pt>
    <dgm:pt modelId="{1F5A76A6-EAC9-4D77-9F3A-B2902BA21A81}" type="parTrans" cxnId="{2FAB52C3-F0F6-4101-AB9A-E97E1AC4A7D7}">
      <dgm:prSet/>
      <dgm:spPr/>
      <dgm:t>
        <a:bodyPr/>
        <a:lstStyle/>
        <a:p>
          <a:endParaRPr lang="en-US"/>
        </a:p>
      </dgm:t>
    </dgm:pt>
    <dgm:pt modelId="{848FD0DC-A43C-43A0-BB61-251E98EA30E8}" type="sibTrans" cxnId="{2FAB52C3-F0F6-4101-AB9A-E97E1AC4A7D7}">
      <dgm:prSet/>
      <dgm:spPr/>
      <dgm:t>
        <a:bodyPr/>
        <a:lstStyle/>
        <a:p>
          <a:endParaRPr lang="en-US"/>
        </a:p>
      </dgm:t>
    </dgm:pt>
    <dgm:pt modelId="{22AE0E22-810D-4537-9DC9-204A077B27C7}">
      <dgm:prSet custT="1"/>
      <dgm:spPr/>
      <dgm:t>
        <a:bodyPr/>
        <a:lstStyle/>
        <a:p>
          <a:pPr algn="l"/>
          <a:r>
            <a:rPr lang="en-US" sz="2000" baseline="0">
              <a:latin typeface="Segoe UI" panose="020B0502040204020203" pitchFamily="34" charset="0"/>
            </a:rPr>
            <a:t>Bound trees and extended stored procedure references</a:t>
          </a:r>
          <a:endParaRPr lang="en-US" sz="2000" dirty="0">
            <a:latin typeface="Segoe UI" panose="020B0502040204020203" pitchFamily="34" charset="0"/>
          </a:endParaRPr>
        </a:p>
      </dgm:t>
    </dgm:pt>
    <dgm:pt modelId="{3353E77B-1877-4B97-8090-744BAF40E03E}" type="parTrans" cxnId="{1FF2E3A7-FC91-4125-9E6B-188E16281F9A}">
      <dgm:prSet/>
      <dgm:spPr/>
      <dgm:t>
        <a:bodyPr/>
        <a:lstStyle/>
        <a:p>
          <a:endParaRPr lang="en-US"/>
        </a:p>
      </dgm:t>
    </dgm:pt>
    <dgm:pt modelId="{F6E67913-641A-4EF4-B8BA-A94AA78B0E3B}" type="sibTrans" cxnId="{1FF2E3A7-FC91-4125-9E6B-188E16281F9A}">
      <dgm:prSet/>
      <dgm:spPr/>
      <dgm:t>
        <a:bodyPr/>
        <a:lstStyle/>
        <a:p>
          <a:endParaRPr lang="en-US"/>
        </a:p>
      </dgm:t>
    </dgm:pt>
    <dgm:pt modelId="{FE0F5B0F-373C-4CF8-9CCA-D478C784C783}">
      <dgm:prSet custT="1"/>
      <dgm:spPr/>
      <dgm:t>
        <a:bodyPr/>
        <a:lstStyle/>
        <a:p>
          <a:pPr algn="l"/>
          <a:r>
            <a:rPr lang="en-US" sz="2000" baseline="0">
              <a:latin typeface="Segoe UI" panose="020B0502040204020203" pitchFamily="34" charset="0"/>
            </a:rPr>
            <a:t>Execution plans are per-statement (not object).</a:t>
          </a:r>
          <a:endParaRPr lang="en-US" sz="2000" dirty="0">
            <a:latin typeface="Segoe UI" panose="020B0502040204020203" pitchFamily="34" charset="0"/>
          </a:endParaRPr>
        </a:p>
      </dgm:t>
    </dgm:pt>
    <dgm:pt modelId="{C73BE31D-97FF-46F7-A216-799CDAA80A94}" type="parTrans" cxnId="{F589D49F-EDCA-4599-A686-C767C26135F0}">
      <dgm:prSet/>
      <dgm:spPr/>
      <dgm:t>
        <a:bodyPr/>
        <a:lstStyle/>
        <a:p>
          <a:endParaRPr lang="en-US"/>
        </a:p>
      </dgm:t>
    </dgm:pt>
    <dgm:pt modelId="{D2249C16-9C7B-48CC-A454-214926C0F6CE}" type="sibTrans" cxnId="{F589D49F-EDCA-4599-A686-C767C26135F0}">
      <dgm:prSet/>
      <dgm:spPr/>
      <dgm:t>
        <a:bodyPr/>
        <a:lstStyle/>
        <a:p>
          <a:endParaRPr lang="en-US"/>
        </a:p>
      </dgm:t>
    </dgm:pt>
    <dgm:pt modelId="{8A7A6A27-FE79-4F0C-843D-B5F592A8A477}">
      <dgm:prSet custT="1"/>
      <dgm:spPr/>
      <dgm:t>
        <a:bodyPr/>
        <a:lstStyle/>
        <a:p>
          <a:pPr algn="l"/>
          <a:r>
            <a:rPr lang="en-US" sz="2600" b="1" baseline="0">
              <a:latin typeface="Segoe UI" panose="020B0502040204020203" pitchFamily="34" charset="0"/>
            </a:rPr>
            <a:t>Plans per Statement:</a:t>
          </a:r>
          <a:endParaRPr lang="en-US" sz="2600" dirty="0">
            <a:latin typeface="Segoe UI" panose="020B0502040204020203" pitchFamily="34" charset="0"/>
          </a:endParaRPr>
        </a:p>
      </dgm:t>
    </dgm:pt>
    <dgm:pt modelId="{CF5B64EC-BDDB-4DD1-9730-499B8293E28A}" type="parTrans" cxnId="{4517FB87-788A-4A7B-AAC2-0F895DC19E38}">
      <dgm:prSet/>
      <dgm:spPr/>
      <dgm:t>
        <a:bodyPr/>
        <a:lstStyle/>
        <a:p>
          <a:endParaRPr lang="en-US"/>
        </a:p>
      </dgm:t>
    </dgm:pt>
    <dgm:pt modelId="{F400E0F8-0203-47F7-81ED-E11741A8082F}" type="sibTrans" cxnId="{4517FB87-788A-4A7B-AAC2-0F895DC19E38}">
      <dgm:prSet/>
      <dgm:spPr/>
      <dgm:t>
        <a:bodyPr/>
        <a:lstStyle/>
        <a:p>
          <a:endParaRPr lang="en-US"/>
        </a:p>
      </dgm:t>
    </dgm:pt>
    <dgm:pt modelId="{53478036-2581-433E-AA35-2BF428DFADB0}">
      <dgm:prSet custT="1"/>
      <dgm:spPr/>
      <dgm:t>
        <a:bodyPr/>
        <a:lstStyle/>
        <a:p>
          <a:pPr algn="l"/>
          <a:r>
            <a:rPr lang="en-US" sz="2000" baseline="0">
              <a:latin typeface="Segoe UI" panose="020B0502040204020203" pitchFamily="34" charset="0"/>
            </a:rPr>
            <a:t>Multiple plans for a single statement may exist if differing execution contexts were used or if a parallel plan was generated.</a:t>
          </a:r>
          <a:endParaRPr lang="en-US" sz="2000" dirty="0">
            <a:latin typeface="Segoe UI" panose="020B0502040204020203" pitchFamily="34" charset="0"/>
          </a:endParaRPr>
        </a:p>
      </dgm:t>
    </dgm:pt>
    <dgm:pt modelId="{E2AA1E5E-E617-4257-8464-32F2B36FA1F8}" type="parTrans" cxnId="{86B63063-9012-46CA-AD91-3D0330C3DE5A}">
      <dgm:prSet/>
      <dgm:spPr/>
      <dgm:t>
        <a:bodyPr/>
        <a:lstStyle/>
        <a:p>
          <a:endParaRPr lang="en-US"/>
        </a:p>
      </dgm:t>
    </dgm:pt>
    <dgm:pt modelId="{5C52A99D-B818-4CDF-915F-72B03D6E8B5F}" type="sibTrans" cxnId="{86B63063-9012-46CA-AD91-3D0330C3DE5A}">
      <dgm:prSet/>
      <dgm:spPr/>
      <dgm:t>
        <a:bodyPr/>
        <a:lstStyle/>
        <a:p>
          <a:endParaRPr lang="en-US"/>
        </a:p>
      </dgm:t>
    </dgm:pt>
    <dgm:pt modelId="{2D15387B-60F0-4B92-B526-ABE4A7FCF3AC}" type="pres">
      <dgm:prSet presAssocID="{BDC64D99-DC14-45ED-ACD8-196ACB7487FF}" presName="linear" presStyleCnt="0">
        <dgm:presLayoutVars>
          <dgm:dir/>
          <dgm:animLvl val="lvl"/>
          <dgm:resizeHandles val="exact"/>
        </dgm:presLayoutVars>
      </dgm:prSet>
      <dgm:spPr/>
    </dgm:pt>
    <dgm:pt modelId="{42AA6942-59E9-4B7C-8196-78B4CF1C3FD2}" type="pres">
      <dgm:prSet presAssocID="{D361EF34-AA93-443D-93E5-3670F8F963E8}" presName="parentLin" presStyleCnt="0"/>
      <dgm:spPr/>
    </dgm:pt>
    <dgm:pt modelId="{8215F29C-9E65-40E6-97D2-CDE68BBC8219}" type="pres">
      <dgm:prSet presAssocID="{D361EF34-AA93-443D-93E5-3670F8F963E8}" presName="parentLeftMargin" presStyleLbl="node1" presStyleIdx="0" presStyleCnt="5"/>
      <dgm:spPr/>
    </dgm:pt>
    <dgm:pt modelId="{4D8FEBEF-41A5-4840-8C33-571197C816C3}" type="pres">
      <dgm:prSet presAssocID="{D361EF34-AA93-443D-93E5-3670F8F963E8}" presName="parentText" presStyleLbl="node1" presStyleIdx="0" presStyleCnt="5">
        <dgm:presLayoutVars>
          <dgm:chMax val="0"/>
          <dgm:bulletEnabled val="1"/>
        </dgm:presLayoutVars>
      </dgm:prSet>
      <dgm:spPr/>
    </dgm:pt>
    <dgm:pt modelId="{3B9CC9BC-B131-47D4-A08C-94B9D88F690F}" type="pres">
      <dgm:prSet presAssocID="{D361EF34-AA93-443D-93E5-3670F8F963E8}" presName="negativeSpace" presStyleCnt="0"/>
      <dgm:spPr/>
    </dgm:pt>
    <dgm:pt modelId="{DC59FE26-4822-4DF1-A679-9872F5820011}" type="pres">
      <dgm:prSet presAssocID="{D361EF34-AA93-443D-93E5-3670F8F963E8}" presName="childText" presStyleLbl="conFgAcc1" presStyleIdx="0" presStyleCnt="5">
        <dgm:presLayoutVars>
          <dgm:bulletEnabled val="1"/>
        </dgm:presLayoutVars>
      </dgm:prSet>
      <dgm:spPr/>
    </dgm:pt>
    <dgm:pt modelId="{732681FC-18CE-46EF-B3D2-4F60C0D89729}" type="pres">
      <dgm:prSet presAssocID="{AC592F00-D24D-4360-8C51-291AD1CD55DB}" presName="spaceBetweenRectangles" presStyleCnt="0"/>
      <dgm:spPr/>
    </dgm:pt>
    <dgm:pt modelId="{747DB919-7D5B-48D1-931C-A452426A4C2E}" type="pres">
      <dgm:prSet presAssocID="{21D36665-36B8-4E1A-B761-7A539DDEF4BF}" presName="parentLin" presStyleCnt="0"/>
      <dgm:spPr/>
    </dgm:pt>
    <dgm:pt modelId="{37B7C034-C5EC-46A0-8F7A-DC7F73D076BF}" type="pres">
      <dgm:prSet presAssocID="{21D36665-36B8-4E1A-B761-7A539DDEF4BF}" presName="parentLeftMargin" presStyleLbl="node1" presStyleIdx="0" presStyleCnt="5"/>
      <dgm:spPr/>
    </dgm:pt>
    <dgm:pt modelId="{65C37683-9B5E-499D-99DF-94C70AA7B054}" type="pres">
      <dgm:prSet presAssocID="{21D36665-36B8-4E1A-B761-7A539DDEF4BF}" presName="parentText" presStyleLbl="node1" presStyleIdx="1" presStyleCnt="5">
        <dgm:presLayoutVars>
          <dgm:chMax val="0"/>
          <dgm:bulletEnabled val="1"/>
        </dgm:presLayoutVars>
      </dgm:prSet>
      <dgm:spPr/>
    </dgm:pt>
    <dgm:pt modelId="{12B9410A-14CE-41F0-8FB0-DFA75A03516D}" type="pres">
      <dgm:prSet presAssocID="{21D36665-36B8-4E1A-B761-7A539DDEF4BF}" presName="negativeSpace" presStyleCnt="0"/>
      <dgm:spPr/>
    </dgm:pt>
    <dgm:pt modelId="{3EFC49D7-8BB1-43E9-91AA-D13C104FA8DF}" type="pres">
      <dgm:prSet presAssocID="{21D36665-36B8-4E1A-B761-7A539DDEF4BF}" presName="childText" presStyleLbl="conFgAcc1" presStyleIdx="1" presStyleCnt="5">
        <dgm:presLayoutVars>
          <dgm:bulletEnabled val="1"/>
        </dgm:presLayoutVars>
      </dgm:prSet>
      <dgm:spPr/>
    </dgm:pt>
    <dgm:pt modelId="{E02188D4-1582-436A-98B8-F3057FCD14E5}" type="pres">
      <dgm:prSet presAssocID="{9D901686-5DA0-4AAD-8CAD-302CDBB18971}" presName="spaceBetweenRectangles" presStyleCnt="0"/>
      <dgm:spPr/>
    </dgm:pt>
    <dgm:pt modelId="{FBF6E06B-AD39-4A83-BB9F-5BEB0F39CD0E}" type="pres">
      <dgm:prSet presAssocID="{50A13C86-4901-482A-9B40-DB6A59B6A446}" presName="parentLin" presStyleCnt="0"/>
      <dgm:spPr/>
    </dgm:pt>
    <dgm:pt modelId="{46E96C92-2E21-4ADF-8247-FD99E01AA1B2}" type="pres">
      <dgm:prSet presAssocID="{50A13C86-4901-482A-9B40-DB6A59B6A446}" presName="parentLeftMargin" presStyleLbl="node1" presStyleIdx="1" presStyleCnt="5"/>
      <dgm:spPr/>
    </dgm:pt>
    <dgm:pt modelId="{AFED54AA-4D7A-4690-997F-49AEF6EF2BBD}" type="pres">
      <dgm:prSet presAssocID="{50A13C86-4901-482A-9B40-DB6A59B6A446}" presName="parentText" presStyleLbl="node1" presStyleIdx="2" presStyleCnt="5">
        <dgm:presLayoutVars>
          <dgm:chMax val="0"/>
          <dgm:bulletEnabled val="1"/>
        </dgm:presLayoutVars>
      </dgm:prSet>
      <dgm:spPr/>
    </dgm:pt>
    <dgm:pt modelId="{75E85C5A-FE03-40B3-A7DC-DDBF5B00F05E}" type="pres">
      <dgm:prSet presAssocID="{50A13C86-4901-482A-9B40-DB6A59B6A446}" presName="negativeSpace" presStyleCnt="0"/>
      <dgm:spPr/>
    </dgm:pt>
    <dgm:pt modelId="{D18666BA-1933-4BFC-AB2A-0E67C6FB4186}" type="pres">
      <dgm:prSet presAssocID="{50A13C86-4901-482A-9B40-DB6A59B6A446}" presName="childText" presStyleLbl="conFgAcc1" presStyleIdx="2" presStyleCnt="5">
        <dgm:presLayoutVars>
          <dgm:bulletEnabled val="1"/>
        </dgm:presLayoutVars>
      </dgm:prSet>
      <dgm:spPr/>
    </dgm:pt>
    <dgm:pt modelId="{91F83A65-6803-4857-9514-0AD31B543C0E}" type="pres">
      <dgm:prSet presAssocID="{6975A828-1E1C-4BAE-A94B-F6C6281A7655}" presName="spaceBetweenRectangles" presStyleCnt="0"/>
      <dgm:spPr/>
    </dgm:pt>
    <dgm:pt modelId="{AF31AB8D-1917-4ECD-8A5E-7647721CA9D8}" type="pres">
      <dgm:prSet presAssocID="{EEBBD178-21FD-4E50-8B07-1CB3FB93D9B9}" presName="parentLin" presStyleCnt="0"/>
      <dgm:spPr/>
    </dgm:pt>
    <dgm:pt modelId="{5D893A20-6C2F-4723-B118-00A6E46F0D47}" type="pres">
      <dgm:prSet presAssocID="{EEBBD178-21FD-4E50-8B07-1CB3FB93D9B9}" presName="parentLeftMargin" presStyleLbl="node1" presStyleIdx="2" presStyleCnt="5"/>
      <dgm:spPr/>
    </dgm:pt>
    <dgm:pt modelId="{1F9CB28E-4CAF-45D5-9922-A45FEE2C1401}" type="pres">
      <dgm:prSet presAssocID="{EEBBD178-21FD-4E50-8B07-1CB3FB93D9B9}" presName="parentText" presStyleLbl="node1" presStyleIdx="3" presStyleCnt="5">
        <dgm:presLayoutVars>
          <dgm:chMax val="0"/>
          <dgm:bulletEnabled val="1"/>
        </dgm:presLayoutVars>
      </dgm:prSet>
      <dgm:spPr/>
    </dgm:pt>
    <dgm:pt modelId="{984FA292-8D1C-408F-82A9-FCB581B1393E}" type="pres">
      <dgm:prSet presAssocID="{EEBBD178-21FD-4E50-8B07-1CB3FB93D9B9}" presName="negativeSpace" presStyleCnt="0"/>
      <dgm:spPr/>
    </dgm:pt>
    <dgm:pt modelId="{B73394BE-3239-4A6A-B5AC-00960220130D}" type="pres">
      <dgm:prSet presAssocID="{EEBBD178-21FD-4E50-8B07-1CB3FB93D9B9}" presName="childText" presStyleLbl="conFgAcc1" presStyleIdx="3" presStyleCnt="5">
        <dgm:presLayoutVars>
          <dgm:bulletEnabled val="1"/>
        </dgm:presLayoutVars>
      </dgm:prSet>
      <dgm:spPr/>
    </dgm:pt>
    <dgm:pt modelId="{0C923059-5BDC-4CB9-8836-77F49CA3CB0B}" type="pres">
      <dgm:prSet presAssocID="{9080C3CD-2383-4B0F-B7B7-8EA04BEB6E8C}" presName="spaceBetweenRectangles" presStyleCnt="0"/>
      <dgm:spPr/>
    </dgm:pt>
    <dgm:pt modelId="{89529738-5FC9-4BAB-8801-7AEB8F66BD5B}" type="pres">
      <dgm:prSet presAssocID="{8A7A6A27-FE79-4F0C-843D-B5F592A8A477}" presName="parentLin" presStyleCnt="0"/>
      <dgm:spPr/>
    </dgm:pt>
    <dgm:pt modelId="{501D38EA-18CC-437F-81F0-2407549DCC2C}" type="pres">
      <dgm:prSet presAssocID="{8A7A6A27-FE79-4F0C-843D-B5F592A8A477}" presName="parentLeftMargin" presStyleLbl="node1" presStyleIdx="3" presStyleCnt="5"/>
      <dgm:spPr/>
    </dgm:pt>
    <dgm:pt modelId="{4827BB34-0E86-4436-87DA-6059537C33EB}" type="pres">
      <dgm:prSet presAssocID="{8A7A6A27-FE79-4F0C-843D-B5F592A8A477}" presName="parentText" presStyleLbl="node1" presStyleIdx="4" presStyleCnt="5">
        <dgm:presLayoutVars>
          <dgm:chMax val="0"/>
          <dgm:bulletEnabled val="1"/>
        </dgm:presLayoutVars>
      </dgm:prSet>
      <dgm:spPr/>
    </dgm:pt>
    <dgm:pt modelId="{CA372397-D07E-4E46-B709-0243C448551F}" type="pres">
      <dgm:prSet presAssocID="{8A7A6A27-FE79-4F0C-843D-B5F592A8A477}" presName="negativeSpace" presStyleCnt="0"/>
      <dgm:spPr/>
    </dgm:pt>
    <dgm:pt modelId="{95161727-5838-4C95-86F3-28152C04D85D}" type="pres">
      <dgm:prSet presAssocID="{8A7A6A27-FE79-4F0C-843D-B5F592A8A477}" presName="childText" presStyleLbl="conFgAcc1" presStyleIdx="4" presStyleCnt="5">
        <dgm:presLayoutVars>
          <dgm:bulletEnabled val="1"/>
        </dgm:presLayoutVars>
      </dgm:prSet>
      <dgm:spPr/>
    </dgm:pt>
  </dgm:ptLst>
  <dgm:cxnLst>
    <dgm:cxn modelId="{76408C05-28D1-4B98-8455-EDACB4378D07}" srcId="{BDC64D99-DC14-45ED-ACD8-196ACB7487FF}" destId="{D361EF34-AA93-443D-93E5-3670F8F963E8}" srcOrd="0" destOrd="0" parTransId="{570F5F94-0C1E-4AE6-A04F-FD9228AAE894}" sibTransId="{AC592F00-D24D-4360-8C51-291AD1CD55DB}"/>
    <dgm:cxn modelId="{3A7EBD12-F2A3-4196-8D21-174B0D580BD6}" type="presOf" srcId="{8A7A6A27-FE79-4F0C-843D-B5F592A8A477}" destId="{501D38EA-18CC-437F-81F0-2407549DCC2C}" srcOrd="0" destOrd="0" presId="urn:microsoft.com/office/officeart/2005/8/layout/list1"/>
    <dgm:cxn modelId="{6F2B3923-19E7-48BD-A274-0AC0F53A8631}" type="presOf" srcId="{D361EF34-AA93-443D-93E5-3670F8F963E8}" destId="{8215F29C-9E65-40E6-97D2-CDE68BBC8219}" srcOrd="0" destOrd="0" presId="urn:microsoft.com/office/officeart/2005/8/layout/list1"/>
    <dgm:cxn modelId="{2D44F127-E57C-4EAE-A6A4-3746A60DB57A}" type="presOf" srcId="{EEBBD178-21FD-4E50-8B07-1CB3FB93D9B9}" destId="{5D893A20-6C2F-4723-B118-00A6E46F0D47}" srcOrd="0" destOrd="0" presId="urn:microsoft.com/office/officeart/2005/8/layout/list1"/>
    <dgm:cxn modelId="{2C044A3E-4094-4CD3-A42D-1F7B7CC112AC}" type="presOf" srcId="{50A13C86-4901-482A-9B40-DB6A59B6A446}" destId="{AFED54AA-4D7A-4690-997F-49AEF6EF2BBD}" srcOrd="1" destOrd="0" presId="urn:microsoft.com/office/officeart/2005/8/layout/list1"/>
    <dgm:cxn modelId="{86B63063-9012-46CA-AD91-3D0330C3DE5A}" srcId="{8A7A6A27-FE79-4F0C-843D-B5F592A8A477}" destId="{53478036-2581-433E-AA35-2BF428DFADB0}" srcOrd="0" destOrd="0" parTransId="{E2AA1E5E-E617-4257-8464-32F2B36FA1F8}" sibTransId="{5C52A99D-B818-4CDF-915F-72B03D6E8B5F}"/>
    <dgm:cxn modelId="{E4580A68-2ABC-4EDB-9B23-66B705D5ACB3}" type="presOf" srcId="{50A13C86-4901-482A-9B40-DB6A59B6A446}" destId="{46E96C92-2E21-4ADF-8247-FD99E01AA1B2}" srcOrd="0" destOrd="0" presId="urn:microsoft.com/office/officeart/2005/8/layout/list1"/>
    <dgm:cxn modelId="{218B716A-C104-4D40-8713-EFE06A6BC2F8}" srcId="{BDC64D99-DC14-45ED-ACD8-196ACB7487FF}" destId="{21D36665-36B8-4E1A-B761-7A539DDEF4BF}" srcOrd="1" destOrd="0" parTransId="{DC8C7D86-B735-4697-B630-BEA11ABE4424}" sibTransId="{9D901686-5DA0-4AAD-8CAD-302CDBB18971}"/>
    <dgm:cxn modelId="{A10E0B4C-918E-4DD2-9D40-07BA4097F5ED}" type="presOf" srcId="{22AE0E22-810D-4537-9DC9-204A077B27C7}" destId="{D18666BA-1933-4BFC-AB2A-0E67C6FB4186}" srcOrd="0" destOrd="0" presId="urn:microsoft.com/office/officeart/2005/8/layout/list1"/>
    <dgm:cxn modelId="{E9B0EC74-DA2B-4452-8966-DA1CE4C81CFC}" srcId="{BDC64D99-DC14-45ED-ACD8-196ACB7487FF}" destId="{EEBBD178-21FD-4E50-8B07-1CB3FB93D9B9}" srcOrd="3" destOrd="0" parTransId="{8D0E2266-D0A3-419E-993A-955C1E399A5C}" sibTransId="{9080C3CD-2383-4B0F-B7B7-8EA04BEB6E8C}"/>
    <dgm:cxn modelId="{F68A0E56-A173-4039-AF2A-4484EF7F4528}" type="presOf" srcId="{D361EF34-AA93-443D-93E5-3670F8F963E8}" destId="{4D8FEBEF-41A5-4840-8C33-571197C816C3}" srcOrd="1" destOrd="0" presId="urn:microsoft.com/office/officeart/2005/8/layout/list1"/>
    <dgm:cxn modelId="{96F83257-F071-4023-A08F-943E57A0A06B}" type="presOf" srcId="{BDC64D99-DC14-45ED-ACD8-196ACB7487FF}" destId="{2D15387B-60F0-4B92-B526-ABE4A7FCF3AC}" srcOrd="0" destOrd="0" presId="urn:microsoft.com/office/officeart/2005/8/layout/list1"/>
    <dgm:cxn modelId="{DE7E9079-CEAE-471E-B57F-2571F523939A}" type="presOf" srcId="{47A30BBB-20B9-4FAE-A1AB-F85589858764}" destId="{DC59FE26-4822-4DF1-A679-9872F5820011}" srcOrd="0" destOrd="0" presId="urn:microsoft.com/office/officeart/2005/8/layout/list1"/>
    <dgm:cxn modelId="{A43CDD59-28C5-478E-93D1-E80A8734AC92}" type="presOf" srcId="{21D36665-36B8-4E1A-B761-7A539DDEF4BF}" destId="{65C37683-9B5E-499D-99DF-94C70AA7B054}" srcOrd="1" destOrd="0" presId="urn:microsoft.com/office/officeart/2005/8/layout/list1"/>
    <dgm:cxn modelId="{4517FB87-788A-4A7B-AAC2-0F895DC19E38}" srcId="{BDC64D99-DC14-45ED-ACD8-196ACB7487FF}" destId="{8A7A6A27-FE79-4F0C-843D-B5F592A8A477}" srcOrd="4" destOrd="0" parTransId="{CF5B64EC-BDDB-4DD1-9730-499B8293E28A}" sibTransId="{F400E0F8-0203-47F7-81ED-E11741A8082F}"/>
    <dgm:cxn modelId="{F589D49F-EDCA-4599-A686-C767C26135F0}" srcId="{EEBBD178-21FD-4E50-8B07-1CB3FB93D9B9}" destId="{FE0F5B0F-373C-4CF8-9CCA-D478C784C783}" srcOrd="0" destOrd="0" parTransId="{C73BE31D-97FF-46F7-A216-799CDAA80A94}" sibTransId="{D2249C16-9C7B-48CC-A454-214926C0F6CE}"/>
    <dgm:cxn modelId="{5E4307A1-03E8-459D-B4BC-8D89054B1EE9}" type="presOf" srcId="{8A7A6A27-FE79-4F0C-843D-B5F592A8A477}" destId="{4827BB34-0E86-4436-87DA-6059537C33EB}" srcOrd="1" destOrd="0" presId="urn:microsoft.com/office/officeart/2005/8/layout/list1"/>
    <dgm:cxn modelId="{1FF2E3A7-FC91-4125-9E6B-188E16281F9A}" srcId="{50A13C86-4901-482A-9B40-DB6A59B6A446}" destId="{22AE0E22-810D-4537-9DC9-204A077B27C7}" srcOrd="0" destOrd="0" parTransId="{3353E77B-1877-4B97-8090-744BAF40E03E}" sibTransId="{F6E67913-641A-4EF4-B8BA-A94AA78B0E3B}"/>
    <dgm:cxn modelId="{514ACDA8-4B7A-41C3-A60C-1E3475D7CB14}" srcId="{BDC64D99-DC14-45ED-ACD8-196ACB7487FF}" destId="{50A13C86-4901-482A-9B40-DB6A59B6A446}" srcOrd="2" destOrd="0" parTransId="{6BD1D617-3F2A-4BB0-A0B6-55B22E7AD3C8}" sibTransId="{6975A828-1E1C-4BAE-A94B-F6C6281A7655}"/>
    <dgm:cxn modelId="{2FAB52C3-F0F6-4101-AB9A-E97E1AC4A7D7}" srcId="{21D36665-36B8-4E1A-B761-7A539DDEF4BF}" destId="{9DFC4E6B-8749-4799-80B9-97A670602A70}" srcOrd="0" destOrd="0" parTransId="{1F5A76A6-EAC9-4D77-9F3A-B2902BA21A81}" sibTransId="{848FD0DC-A43C-43A0-BB61-251E98EA30E8}"/>
    <dgm:cxn modelId="{8707DCCB-81D1-464F-9451-526B85E32644}" type="presOf" srcId="{EEBBD178-21FD-4E50-8B07-1CB3FB93D9B9}" destId="{1F9CB28E-4CAF-45D5-9922-A45FEE2C1401}" srcOrd="1" destOrd="0" presId="urn:microsoft.com/office/officeart/2005/8/layout/list1"/>
    <dgm:cxn modelId="{C1AE87CE-76AC-443F-B6BC-23360DC9B27F}" type="presOf" srcId="{FE0F5B0F-373C-4CF8-9CCA-D478C784C783}" destId="{B73394BE-3239-4A6A-B5AC-00960220130D}" srcOrd="0" destOrd="0" presId="urn:microsoft.com/office/officeart/2005/8/layout/list1"/>
    <dgm:cxn modelId="{80929FDB-C45C-47D2-92CF-6F63B96E25C6}" type="presOf" srcId="{9DFC4E6B-8749-4799-80B9-97A670602A70}" destId="{3EFC49D7-8BB1-43E9-91AA-D13C104FA8DF}" srcOrd="0" destOrd="0" presId="urn:microsoft.com/office/officeart/2005/8/layout/list1"/>
    <dgm:cxn modelId="{D4737AEF-5CF3-41EC-9594-D3DEF649D851}" type="presOf" srcId="{21D36665-36B8-4E1A-B761-7A539DDEF4BF}" destId="{37B7C034-C5EC-46A0-8F7A-DC7F73D076BF}" srcOrd="0" destOrd="0" presId="urn:microsoft.com/office/officeart/2005/8/layout/list1"/>
    <dgm:cxn modelId="{5CA208F1-8B73-40F3-8425-C14F286827FE}" srcId="{D361EF34-AA93-443D-93E5-3670F8F963E8}" destId="{47A30BBB-20B9-4FAE-A1AB-F85589858764}" srcOrd="0" destOrd="0" parTransId="{59C67F32-D4F3-4939-81D2-3DC0F885F0F0}" sibTransId="{E33C7D65-588F-4BD5-B7D6-1CFFB4401037}"/>
    <dgm:cxn modelId="{88200BF1-6CAF-4512-88F5-49CB61B08EC9}" type="presOf" srcId="{53478036-2581-433E-AA35-2BF428DFADB0}" destId="{95161727-5838-4C95-86F3-28152C04D85D}" srcOrd="0" destOrd="0" presId="urn:microsoft.com/office/officeart/2005/8/layout/list1"/>
    <dgm:cxn modelId="{A37C55F2-3C49-4458-8274-7BBE054478DA}" type="presParOf" srcId="{2D15387B-60F0-4B92-B526-ABE4A7FCF3AC}" destId="{42AA6942-59E9-4B7C-8196-78B4CF1C3FD2}" srcOrd="0" destOrd="0" presId="urn:microsoft.com/office/officeart/2005/8/layout/list1"/>
    <dgm:cxn modelId="{806C4206-EA75-4BB8-A405-A3E7A1259244}" type="presParOf" srcId="{42AA6942-59E9-4B7C-8196-78B4CF1C3FD2}" destId="{8215F29C-9E65-40E6-97D2-CDE68BBC8219}" srcOrd="0" destOrd="0" presId="urn:microsoft.com/office/officeart/2005/8/layout/list1"/>
    <dgm:cxn modelId="{0D6F2B9E-81A8-45DF-BC9B-9B6781054D3F}" type="presParOf" srcId="{42AA6942-59E9-4B7C-8196-78B4CF1C3FD2}" destId="{4D8FEBEF-41A5-4840-8C33-571197C816C3}" srcOrd="1" destOrd="0" presId="urn:microsoft.com/office/officeart/2005/8/layout/list1"/>
    <dgm:cxn modelId="{DC34F99F-52F7-40FA-A9C3-08B7BBF63729}" type="presParOf" srcId="{2D15387B-60F0-4B92-B526-ABE4A7FCF3AC}" destId="{3B9CC9BC-B131-47D4-A08C-94B9D88F690F}" srcOrd="1" destOrd="0" presId="urn:microsoft.com/office/officeart/2005/8/layout/list1"/>
    <dgm:cxn modelId="{5D528B07-6AE7-415B-9BEE-5F36106B15C4}" type="presParOf" srcId="{2D15387B-60F0-4B92-B526-ABE4A7FCF3AC}" destId="{DC59FE26-4822-4DF1-A679-9872F5820011}" srcOrd="2" destOrd="0" presId="urn:microsoft.com/office/officeart/2005/8/layout/list1"/>
    <dgm:cxn modelId="{60812CFD-6764-4DA5-92BA-BF6A279CBF1F}" type="presParOf" srcId="{2D15387B-60F0-4B92-B526-ABE4A7FCF3AC}" destId="{732681FC-18CE-46EF-B3D2-4F60C0D89729}" srcOrd="3" destOrd="0" presId="urn:microsoft.com/office/officeart/2005/8/layout/list1"/>
    <dgm:cxn modelId="{D7922BC1-67E0-411A-AB3C-18B6A69B4D56}" type="presParOf" srcId="{2D15387B-60F0-4B92-B526-ABE4A7FCF3AC}" destId="{747DB919-7D5B-48D1-931C-A452426A4C2E}" srcOrd="4" destOrd="0" presId="urn:microsoft.com/office/officeart/2005/8/layout/list1"/>
    <dgm:cxn modelId="{D06A618B-B4A3-4A96-A8BA-89F135445309}" type="presParOf" srcId="{747DB919-7D5B-48D1-931C-A452426A4C2E}" destId="{37B7C034-C5EC-46A0-8F7A-DC7F73D076BF}" srcOrd="0" destOrd="0" presId="urn:microsoft.com/office/officeart/2005/8/layout/list1"/>
    <dgm:cxn modelId="{38DD95AC-33A0-415B-8C25-70D341978388}" type="presParOf" srcId="{747DB919-7D5B-48D1-931C-A452426A4C2E}" destId="{65C37683-9B5E-499D-99DF-94C70AA7B054}" srcOrd="1" destOrd="0" presId="urn:microsoft.com/office/officeart/2005/8/layout/list1"/>
    <dgm:cxn modelId="{B2447240-968D-4950-9797-F2F7DA783804}" type="presParOf" srcId="{2D15387B-60F0-4B92-B526-ABE4A7FCF3AC}" destId="{12B9410A-14CE-41F0-8FB0-DFA75A03516D}" srcOrd="5" destOrd="0" presId="urn:microsoft.com/office/officeart/2005/8/layout/list1"/>
    <dgm:cxn modelId="{D16A9A03-9EC5-4E54-8BC9-973807BDCD43}" type="presParOf" srcId="{2D15387B-60F0-4B92-B526-ABE4A7FCF3AC}" destId="{3EFC49D7-8BB1-43E9-91AA-D13C104FA8DF}" srcOrd="6" destOrd="0" presId="urn:microsoft.com/office/officeart/2005/8/layout/list1"/>
    <dgm:cxn modelId="{BFAC33CF-2E95-4F2E-9977-15BC9C8506F1}" type="presParOf" srcId="{2D15387B-60F0-4B92-B526-ABE4A7FCF3AC}" destId="{E02188D4-1582-436A-98B8-F3057FCD14E5}" srcOrd="7" destOrd="0" presId="urn:microsoft.com/office/officeart/2005/8/layout/list1"/>
    <dgm:cxn modelId="{85C14CD6-FE26-4E52-918D-3C565BAEB82E}" type="presParOf" srcId="{2D15387B-60F0-4B92-B526-ABE4A7FCF3AC}" destId="{FBF6E06B-AD39-4A83-BB9F-5BEB0F39CD0E}" srcOrd="8" destOrd="0" presId="urn:microsoft.com/office/officeart/2005/8/layout/list1"/>
    <dgm:cxn modelId="{CD9E44F4-8D5C-49F6-AFA6-2F1AD83E4983}" type="presParOf" srcId="{FBF6E06B-AD39-4A83-BB9F-5BEB0F39CD0E}" destId="{46E96C92-2E21-4ADF-8247-FD99E01AA1B2}" srcOrd="0" destOrd="0" presId="urn:microsoft.com/office/officeart/2005/8/layout/list1"/>
    <dgm:cxn modelId="{A2D9BB58-B310-4334-9624-D138AAEAB197}" type="presParOf" srcId="{FBF6E06B-AD39-4A83-BB9F-5BEB0F39CD0E}" destId="{AFED54AA-4D7A-4690-997F-49AEF6EF2BBD}" srcOrd="1" destOrd="0" presId="urn:microsoft.com/office/officeart/2005/8/layout/list1"/>
    <dgm:cxn modelId="{7EF47EA6-5942-46FA-9B04-AB30F122DE33}" type="presParOf" srcId="{2D15387B-60F0-4B92-B526-ABE4A7FCF3AC}" destId="{75E85C5A-FE03-40B3-A7DC-DDBF5B00F05E}" srcOrd="9" destOrd="0" presId="urn:microsoft.com/office/officeart/2005/8/layout/list1"/>
    <dgm:cxn modelId="{4FEEE1CF-87A7-433F-84DF-95259623CEBC}" type="presParOf" srcId="{2D15387B-60F0-4B92-B526-ABE4A7FCF3AC}" destId="{D18666BA-1933-4BFC-AB2A-0E67C6FB4186}" srcOrd="10" destOrd="0" presId="urn:microsoft.com/office/officeart/2005/8/layout/list1"/>
    <dgm:cxn modelId="{64991900-F85A-4C35-AC39-797D3392DE25}" type="presParOf" srcId="{2D15387B-60F0-4B92-B526-ABE4A7FCF3AC}" destId="{91F83A65-6803-4857-9514-0AD31B543C0E}" srcOrd="11" destOrd="0" presId="urn:microsoft.com/office/officeart/2005/8/layout/list1"/>
    <dgm:cxn modelId="{E4A4B8CA-1A3B-41EF-9569-B83447821559}" type="presParOf" srcId="{2D15387B-60F0-4B92-B526-ABE4A7FCF3AC}" destId="{AF31AB8D-1917-4ECD-8A5E-7647721CA9D8}" srcOrd="12" destOrd="0" presId="urn:microsoft.com/office/officeart/2005/8/layout/list1"/>
    <dgm:cxn modelId="{F93B2563-3876-4B2D-BE30-276D90F43F19}" type="presParOf" srcId="{AF31AB8D-1917-4ECD-8A5E-7647721CA9D8}" destId="{5D893A20-6C2F-4723-B118-00A6E46F0D47}" srcOrd="0" destOrd="0" presId="urn:microsoft.com/office/officeart/2005/8/layout/list1"/>
    <dgm:cxn modelId="{7B3BF7D7-1040-40C8-BF9C-79A37D95956A}" type="presParOf" srcId="{AF31AB8D-1917-4ECD-8A5E-7647721CA9D8}" destId="{1F9CB28E-4CAF-45D5-9922-A45FEE2C1401}" srcOrd="1" destOrd="0" presId="urn:microsoft.com/office/officeart/2005/8/layout/list1"/>
    <dgm:cxn modelId="{6F1CB6D3-2BAC-448A-8AA6-6E0940E1632B}" type="presParOf" srcId="{2D15387B-60F0-4B92-B526-ABE4A7FCF3AC}" destId="{984FA292-8D1C-408F-82A9-FCB581B1393E}" srcOrd="13" destOrd="0" presId="urn:microsoft.com/office/officeart/2005/8/layout/list1"/>
    <dgm:cxn modelId="{D7C278DC-A87F-41B5-8E85-E7FFDE21DD3D}" type="presParOf" srcId="{2D15387B-60F0-4B92-B526-ABE4A7FCF3AC}" destId="{B73394BE-3239-4A6A-B5AC-00960220130D}" srcOrd="14" destOrd="0" presId="urn:microsoft.com/office/officeart/2005/8/layout/list1"/>
    <dgm:cxn modelId="{0EAF3E51-BAE8-44E2-A5F6-F6A08C13E42C}" type="presParOf" srcId="{2D15387B-60F0-4B92-B526-ABE4A7FCF3AC}" destId="{0C923059-5BDC-4CB9-8836-77F49CA3CB0B}" srcOrd="15" destOrd="0" presId="urn:microsoft.com/office/officeart/2005/8/layout/list1"/>
    <dgm:cxn modelId="{B2B59F83-5778-4ACA-9722-5C49BB62D928}" type="presParOf" srcId="{2D15387B-60F0-4B92-B526-ABE4A7FCF3AC}" destId="{89529738-5FC9-4BAB-8801-7AEB8F66BD5B}" srcOrd="16" destOrd="0" presId="urn:microsoft.com/office/officeart/2005/8/layout/list1"/>
    <dgm:cxn modelId="{218560A8-0801-48C1-AE20-F1D3815E7476}" type="presParOf" srcId="{89529738-5FC9-4BAB-8801-7AEB8F66BD5B}" destId="{501D38EA-18CC-437F-81F0-2407549DCC2C}" srcOrd="0" destOrd="0" presId="urn:microsoft.com/office/officeart/2005/8/layout/list1"/>
    <dgm:cxn modelId="{7BB897C0-7D4A-4F89-AFFF-D5FC47F82F31}" type="presParOf" srcId="{89529738-5FC9-4BAB-8801-7AEB8F66BD5B}" destId="{4827BB34-0E86-4436-87DA-6059537C33EB}" srcOrd="1" destOrd="0" presId="urn:microsoft.com/office/officeart/2005/8/layout/list1"/>
    <dgm:cxn modelId="{6811F6CE-FF9F-4218-9AA6-6B0FFC6161A7}" type="presParOf" srcId="{2D15387B-60F0-4B92-B526-ABE4A7FCF3AC}" destId="{CA372397-D07E-4E46-B709-0243C448551F}" srcOrd="17" destOrd="0" presId="urn:microsoft.com/office/officeart/2005/8/layout/list1"/>
    <dgm:cxn modelId="{854DE3CE-6CC7-46D5-878E-645176E36AF6}" type="presParOf" srcId="{2D15387B-60F0-4B92-B526-ABE4A7FCF3AC}" destId="{95161727-5838-4C95-86F3-28152C04D85D}"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3B127D6-B202-41CE-859F-A9536CC11A65}" type="doc">
      <dgm:prSet loTypeId="urn:microsoft.com/office/officeart/2005/8/layout/vList6" loCatId="list" qsTypeId="urn:microsoft.com/office/officeart/2005/8/quickstyle/simple1" qsCatId="simple" csTypeId="urn:microsoft.com/office/officeart/2005/8/colors/colorful2" csCatId="colorful" phldr="1"/>
      <dgm:spPr/>
      <dgm:t>
        <a:bodyPr/>
        <a:lstStyle/>
        <a:p>
          <a:endParaRPr lang="en-US"/>
        </a:p>
      </dgm:t>
    </dgm:pt>
    <dgm:pt modelId="{04AD0EF0-D6FF-4038-A757-AB73630C29D8}">
      <dgm:prSet custT="1"/>
      <dgm:spPr/>
      <dgm:t>
        <a:bodyPr/>
        <a:lstStyle/>
        <a:p>
          <a:r>
            <a:rPr lang="en-US" sz="2400" baseline="0" dirty="0"/>
            <a:t>sys.dm_exec_cached_plans</a:t>
          </a:r>
          <a:endParaRPr lang="en-US" sz="2400" dirty="0"/>
        </a:p>
      </dgm:t>
    </dgm:pt>
    <dgm:pt modelId="{3364A55B-1D4B-444F-A5B4-4A6B26961A08}" type="parTrans" cxnId="{5265EA97-BA1F-4EA8-90B1-E3086447C344}">
      <dgm:prSet/>
      <dgm:spPr/>
      <dgm:t>
        <a:bodyPr/>
        <a:lstStyle/>
        <a:p>
          <a:endParaRPr lang="en-US"/>
        </a:p>
      </dgm:t>
    </dgm:pt>
    <dgm:pt modelId="{819F637C-BD62-46F3-97B5-73CEB7A36381}" type="sibTrans" cxnId="{5265EA97-BA1F-4EA8-90B1-E3086447C344}">
      <dgm:prSet/>
      <dgm:spPr/>
      <dgm:t>
        <a:bodyPr/>
        <a:lstStyle/>
        <a:p>
          <a:endParaRPr lang="en-US"/>
        </a:p>
      </dgm:t>
    </dgm:pt>
    <dgm:pt modelId="{F71545CF-346A-44D1-94CF-B682DEA980F4}">
      <dgm:prSet/>
      <dgm:spPr/>
      <dgm:t>
        <a:bodyPr/>
        <a:lstStyle/>
        <a:p>
          <a:r>
            <a:rPr lang="en-US" dirty="0"/>
            <a:t>Plan type, size and handle</a:t>
          </a:r>
        </a:p>
      </dgm:t>
    </dgm:pt>
    <dgm:pt modelId="{4597E3A5-2797-49E1-A20E-3F4E84B2B738}" type="parTrans" cxnId="{291540DB-4253-4924-BEC8-171835015E99}">
      <dgm:prSet/>
      <dgm:spPr/>
      <dgm:t>
        <a:bodyPr/>
        <a:lstStyle/>
        <a:p>
          <a:endParaRPr lang="en-US"/>
        </a:p>
      </dgm:t>
    </dgm:pt>
    <dgm:pt modelId="{13AF8E62-FBDA-4E12-8097-07A0C7AECB9A}" type="sibTrans" cxnId="{291540DB-4253-4924-BEC8-171835015E99}">
      <dgm:prSet/>
      <dgm:spPr/>
      <dgm:t>
        <a:bodyPr/>
        <a:lstStyle/>
        <a:p>
          <a:endParaRPr lang="en-US"/>
        </a:p>
      </dgm:t>
    </dgm:pt>
    <dgm:pt modelId="{7FDE9BCB-4D03-4BDB-ADEA-F7581269CF9F}">
      <dgm:prSet custT="1"/>
      <dgm:spPr/>
      <dgm:t>
        <a:bodyPr/>
        <a:lstStyle/>
        <a:p>
          <a:r>
            <a:rPr lang="en-US" sz="2400" baseline="0" dirty="0"/>
            <a:t>sys.dm_exec_query_stats</a:t>
          </a:r>
          <a:endParaRPr lang="en-US" sz="2400" dirty="0"/>
        </a:p>
      </dgm:t>
    </dgm:pt>
    <dgm:pt modelId="{6C70A401-7D91-4526-AF1B-503BD4D075F6}" type="parTrans" cxnId="{E1DF7EDC-91A9-46A4-88BC-B2D79E9C1C8B}">
      <dgm:prSet/>
      <dgm:spPr/>
      <dgm:t>
        <a:bodyPr/>
        <a:lstStyle/>
        <a:p>
          <a:endParaRPr lang="en-US"/>
        </a:p>
      </dgm:t>
    </dgm:pt>
    <dgm:pt modelId="{75BAFCB1-9A89-4714-B653-BA598DA2AADB}" type="sibTrans" cxnId="{E1DF7EDC-91A9-46A4-88BC-B2D79E9C1C8B}">
      <dgm:prSet/>
      <dgm:spPr/>
      <dgm:t>
        <a:bodyPr/>
        <a:lstStyle/>
        <a:p>
          <a:endParaRPr lang="en-US"/>
        </a:p>
      </dgm:t>
    </dgm:pt>
    <dgm:pt modelId="{609C4653-2524-4161-8924-63ECBFD8719E}">
      <dgm:prSet/>
      <dgm:spPr/>
      <dgm:t>
        <a:bodyPr/>
        <a:lstStyle/>
        <a:p>
          <a:r>
            <a:rPr lang="en-US" baseline="0" dirty="0"/>
            <a:t>Execution metrics for individual statements</a:t>
          </a:r>
          <a:endParaRPr lang="en-US" dirty="0"/>
        </a:p>
      </dgm:t>
    </dgm:pt>
    <dgm:pt modelId="{18591B58-F038-44E5-8842-3C484D2CFCBF}" type="parTrans" cxnId="{36641EDC-3994-4B2A-B437-39DA6C514DEF}">
      <dgm:prSet/>
      <dgm:spPr/>
      <dgm:t>
        <a:bodyPr/>
        <a:lstStyle/>
        <a:p>
          <a:endParaRPr lang="en-US"/>
        </a:p>
      </dgm:t>
    </dgm:pt>
    <dgm:pt modelId="{7A25E1B1-F8E0-4170-AE64-7C6206FA9618}" type="sibTrans" cxnId="{36641EDC-3994-4B2A-B437-39DA6C514DEF}">
      <dgm:prSet/>
      <dgm:spPr/>
      <dgm:t>
        <a:bodyPr/>
        <a:lstStyle/>
        <a:p>
          <a:endParaRPr lang="en-US"/>
        </a:p>
      </dgm:t>
    </dgm:pt>
    <dgm:pt modelId="{CCA323D9-642F-45C1-8E72-56172435493E}">
      <dgm:prSet custT="1"/>
      <dgm:spPr/>
      <dgm:t>
        <a:bodyPr/>
        <a:lstStyle/>
        <a:p>
          <a:r>
            <a:rPr lang="en-US" sz="2400" baseline="0" dirty="0"/>
            <a:t>sys.dm_exec_query_plan()</a:t>
          </a:r>
          <a:endParaRPr lang="en-US" sz="2400" dirty="0"/>
        </a:p>
      </dgm:t>
    </dgm:pt>
    <dgm:pt modelId="{7842FB8C-1677-43A9-BDBA-15C2EFA725EA}" type="parTrans" cxnId="{FB7B4F75-EFD9-4F32-95A0-9544100F27F4}">
      <dgm:prSet/>
      <dgm:spPr/>
      <dgm:t>
        <a:bodyPr/>
        <a:lstStyle/>
        <a:p>
          <a:endParaRPr lang="en-US"/>
        </a:p>
      </dgm:t>
    </dgm:pt>
    <dgm:pt modelId="{DC11CA20-F289-4E34-BDB6-FAB9743E5A66}" type="sibTrans" cxnId="{FB7B4F75-EFD9-4F32-95A0-9544100F27F4}">
      <dgm:prSet/>
      <dgm:spPr/>
      <dgm:t>
        <a:bodyPr/>
        <a:lstStyle/>
        <a:p>
          <a:endParaRPr lang="en-US"/>
        </a:p>
      </dgm:t>
    </dgm:pt>
    <dgm:pt modelId="{B44B91CD-E277-46C6-A070-BB59D64616FE}">
      <dgm:prSet/>
      <dgm:spPr/>
      <dgm:t>
        <a:bodyPr/>
        <a:lstStyle/>
        <a:p>
          <a:r>
            <a:rPr lang="en-US" baseline="0" dirty="0"/>
            <a:t>Takes a plan_handle and returns the associated XML plan </a:t>
          </a:r>
          <a:endParaRPr lang="en-US" dirty="0"/>
        </a:p>
      </dgm:t>
    </dgm:pt>
    <dgm:pt modelId="{155B7CA7-6EF1-4608-9347-DF87D876D227}" type="parTrans" cxnId="{F17FC849-64A1-4F96-883D-1358B2661B4D}">
      <dgm:prSet/>
      <dgm:spPr/>
      <dgm:t>
        <a:bodyPr/>
        <a:lstStyle/>
        <a:p>
          <a:endParaRPr lang="en-US"/>
        </a:p>
      </dgm:t>
    </dgm:pt>
    <dgm:pt modelId="{5B77BF48-A54A-444E-8CB0-B18E7DD65AAC}" type="sibTrans" cxnId="{F17FC849-64A1-4F96-883D-1358B2661B4D}">
      <dgm:prSet/>
      <dgm:spPr/>
      <dgm:t>
        <a:bodyPr/>
        <a:lstStyle/>
        <a:p>
          <a:endParaRPr lang="en-US"/>
        </a:p>
      </dgm:t>
    </dgm:pt>
    <dgm:pt modelId="{081CF36B-6A77-4296-9254-1D9087D7ADA8}">
      <dgm:prSet custT="1"/>
      <dgm:spPr/>
      <dgm:t>
        <a:bodyPr/>
        <a:lstStyle/>
        <a:p>
          <a:pPr algn="ctr"/>
          <a:r>
            <a:rPr lang="en-US" sz="2400" baseline="0" dirty="0"/>
            <a:t>sys.dm_exec_sql_text()</a:t>
          </a:r>
          <a:endParaRPr lang="en-US" sz="2400" dirty="0"/>
        </a:p>
      </dgm:t>
    </dgm:pt>
    <dgm:pt modelId="{85D4CF45-00F0-49F2-B4AF-7EF38186E240}" type="parTrans" cxnId="{E481D74B-F8E8-41A1-8832-98DAD6FAE3C5}">
      <dgm:prSet/>
      <dgm:spPr/>
      <dgm:t>
        <a:bodyPr/>
        <a:lstStyle/>
        <a:p>
          <a:endParaRPr lang="en-US"/>
        </a:p>
      </dgm:t>
    </dgm:pt>
    <dgm:pt modelId="{47BE6DBA-0897-4EF7-9FC9-AE83A5F75041}" type="sibTrans" cxnId="{E481D74B-F8E8-41A1-8832-98DAD6FAE3C5}">
      <dgm:prSet/>
      <dgm:spPr/>
      <dgm:t>
        <a:bodyPr/>
        <a:lstStyle/>
        <a:p>
          <a:endParaRPr lang="en-US"/>
        </a:p>
      </dgm:t>
    </dgm:pt>
    <dgm:pt modelId="{62C689BA-47C9-43B6-B4C7-A0C3B5A40739}">
      <dgm:prSet/>
      <dgm:spPr/>
      <dgm:t>
        <a:bodyPr/>
        <a:lstStyle/>
        <a:p>
          <a:r>
            <a:rPr lang="en-US" baseline="0" dirty="0"/>
            <a:t>Takes a plan_handle or sql_handle and returns the associated SQL batch</a:t>
          </a:r>
          <a:endParaRPr lang="en-US" dirty="0"/>
        </a:p>
      </dgm:t>
    </dgm:pt>
    <dgm:pt modelId="{311669E3-D9AD-4E46-8625-558EBCB85B62}" type="parTrans" cxnId="{89B88349-6A67-4505-BC4F-5552AF89FFF2}">
      <dgm:prSet/>
      <dgm:spPr/>
      <dgm:t>
        <a:bodyPr/>
        <a:lstStyle/>
        <a:p>
          <a:endParaRPr lang="en-US"/>
        </a:p>
      </dgm:t>
    </dgm:pt>
    <dgm:pt modelId="{41FB5C0A-46C1-43D3-90EC-D1329B481873}" type="sibTrans" cxnId="{89B88349-6A67-4505-BC4F-5552AF89FFF2}">
      <dgm:prSet/>
      <dgm:spPr/>
      <dgm:t>
        <a:bodyPr/>
        <a:lstStyle/>
        <a:p>
          <a:endParaRPr lang="en-US"/>
        </a:p>
      </dgm:t>
    </dgm:pt>
    <dgm:pt modelId="{41B114B4-2075-481F-8666-65F14F2E771D}" type="pres">
      <dgm:prSet presAssocID="{43B127D6-B202-41CE-859F-A9536CC11A65}" presName="Name0" presStyleCnt="0">
        <dgm:presLayoutVars>
          <dgm:dir/>
          <dgm:animLvl val="lvl"/>
          <dgm:resizeHandles/>
        </dgm:presLayoutVars>
      </dgm:prSet>
      <dgm:spPr/>
    </dgm:pt>
    <dgm:pt modelId="{BB654D36-B336-424D-888A-0D63493F46B8}" type="pres">
      <dgm:prSet presAssocID="{04AD0EF0-D6FF-4038-A757-AB73630C29D8}" presName="linNode" presStyleCnt="0"/>
      <dgm:spPr/>
    </dgm:pt>
    <dgm:pt modelId="{54391A25-D2D9-4355-B400-2D7370C7C8CE}" type="pres">
      <dgm:prSet presAssocID="{04AD0EF0-D6FF-4038-A757-AB73630C29D8}" presName="parentShp" presStyleLbl="node1" presStyleIdx="0" presStyleCnt="4">
        <dgm:presLayoutVars>
          <dgm:bulletEnabled val="1"/>
        </dgm:presLayoutVars>
      </dgm:prSet>
      <dgm:spPr/>
    </dgm:pt>
    <dgm:pt modelId="{097E8114-12F3-469E-A27B-D86B1C6D839A}" type="pres">
      <dgm:prSet presAssocID="{04AD0EF0-D6FF-4038-A757-AB73630C29D8}" presName="childShp" presStyleLbl="bgAccFollowNode1" presStyleIdx="0" presStyleCnt="4">
        <dgm:presLayoutVars>
          <dgm:bulletEnabled val="1"/>
        </dgm:presLayoutVars>
      </dgm:prSet>
      <dgm:spPr/>
    </dgm:pt>
    <dgm:pt modelId="{4820B8F6-7CF0-40C3-8592-369BAB053290}" type="pres">
      <dgm:prSet presAssocID="{819F637C-BD62-46F3-97B5-73CEB7A36381}" presName="spacing" presStyleCnt="0"/>
      <dgm:spPr/>
    </dgm:pt>
    <dgm:pt modelId="{85A54C36-5914-417F-9884-C0442FF58314}" type="pres">
      <dgm:prSet presAssocID="{7FDE9BCB-4D03-4BDB-ADEA-F7581269CF9F}" presName="linNode" presStyleCnt="0"/>
      <dgm:spPr/>
    </dgm:pt>
    <dgm:pt modelId="{77C55A6C-86CD-46F6-A7BC-CD989BF29AD3}" type="pres">
      <dgm:prSet presAssocID="{7FDE9BCB-4D03-4BDB-ADEA-F7581269CF9F}" presName="parentShp" presStyleLbl="node1" presStyleIdx="1" presStyleCnt="4">
        <dgm:presLayoutVars>
          <dgm:bulletEnabled val="1"/>
        </dgm:presLayoutVars>
      </dgm:prSet>
      <dgm:spPr/>
    </dgm:pt>
    <dgm:pt modelId="{DD3870A4-BF67-43F5-BD9C-EFCAFD36AF9C}" type="pres">
      <dgm:prSet presAssocID="{7FDE9BCB-4D03-4BDB-ADEA-F7581269CF9F}" presName="childShp" presStyleLbl="bgAccFollowNode1" presStyleIdx="1" presStyleCnt="4">
        <dgm:presLayoutVars>
          <dgm:bulletEnabled val="1"/>
        </dgm:presLayoutVars>
      </dgm:prSet>
      <dgm:spPr/>
    </dgm:pt>
    <dgm:pt modelId="{049F547D-F5E4-4341-ABFB-A5326E94C2FD}" type="pres">
      <dgm:prSet presAssocID="{75BAFCB1-9A89-4714-B653-BA598DA2AADB}" presName="spacing" presStyleCnt="0"/>
      <dgm:spPr/>
    </dgm:pt>
    <dgm:pt modelId="{8B18237F-CB70-41C0-806D-C2B1ABB4550F}" type="pres">
      <dgm:prSet presAssocID="{CCA323D9-642F-45C1-8E72-56172435493E}" presName="linNode" presStyleCnt="0"/>
      <dgm:spPr/>
    </dgm:pt>
    <dgm:pt modelId="{688B86EE-D10B-46C7-84F8-8C0C61F717C8}" type="pres">
      <dgm:prSet presAssocID="{CCA323D9-642F-45C1-8E72-56172435493E}" presName="parentShp" presStyleLbl="node1" presStyleIdx="2" presStyleCnt="4">
        <dgm:presLayoutVars>
          <dgm:bulletEnabled val="1"/>
        </dgm:presLayoutVars>
      </dgm:prSet>
      <dgm:spPr/>
    </dgm:pt>
    <dgm:pt modelId="{1DC62910-F5B0-4E12-AD2C-26B51B70F214}" type="pres">
      <dgm:prSet presAssocID="{CCA323D9-642F-45C1-8E72-56172435493E}" presName="childShp" presStyleLbl="bgAccFollowNode1" presStyleIdx="2" presStyleCnt="4">
        <dgm:presLayoutVars>
          <dgm:bulletEnabled val="1"/>
        </dgm:presLayoutVars>
      </dgm:prSet>
      <dgm:spPr/>
    </dgm:pt>
    <dgm:pt modelId="{6B8532DA-A002-4BDB-9063-DB94DCA0C567}" type="pres">
      <dgm:prSet presAssocID="{DC11CA20-F289-4E34-BDB6-FAB9743E5A66}" presName="spacing" presStyleCnt="0"/>
      <dgm:spPr/>
    </dgm:pt>
    <dgm:pt modelId="{E5B2ED6C-AE68-44CD-8657-CA3977AF12CD}" type="pres">
      <dgm:prSet presAssocID="{081CF36B-6A77-4296-9254-1D9087D7ADA8}" presName="linNode" presStyleCnt="0"/>
      <dgm:spPr/>
    </dgm:pt>
    <dgm:pt modelId="{19D55732-39F8-4659-9F37-B937D64447A3}" type="pres">
      <dgm:prSet presAssocID="{081CF36B-6A77-4296-9254-1D9087D7ADA8}" presName="parentShp" presStyleLbl="node1" presStyleIdx="3" presStyleCnt="4">
        <dgm:presLayoutVars>
          <dgm:bulletEnabled val="1"/>
        </dgm:presLayoutVars>
      </dgm:prSet>
      <dgm:spPr/>
    </dgm:pt>
    <dgm:pt modelId="{B61DEA13-FD87-4FB8-AB97-821EA9B9B040}" type="pres">
      <dgm:prSet presAssocID="{081CF36B-6A77-4296-9254-1D9087D7ADA8}" presName="childShp" presStyleLbl="bgAccFollowNode1" presStyleIdx="3" presStyleCnt="4">
        <dgm:presLayoutVars>
          <dgm:bulletEnabled val="1"/>
        </dgm:presLayoutVars>
      </dgm:prSet>
      <dgm:spPr/>
    </dgm:pt>
  </dgm:ptLst>
  <dgm:cxnLst>
    <dgm:cxn modelId="{83E8900D-B709-4B90-97A1-463973FEC34A}" type="presOf" srcId="{081CF36B-6A77-4296-9254-1D9087D7ADA8}" destId="{19D55732-39F8-4659-9F37-B937D64447A3}" srcOrd="0" destOrd="0" presId="urn:microsoft.com/office/officeart/2005/8/layout/vList6"/>
    <dgm:cxn modelId="{7472591B-301B-4592-B5FD-E2DEE86BEE46}" type="presOf" srcId="{04AD0EF0-D6FF-4038-A757-AB73630C29D8}" destId="{54391A25-D2D9-4355-B400-2D7370C7C8CE}" srcOrd="0" destOrd="0" presId="urn:microsoft.com/office/officeart/2005/8/layout/vList6"/>
    <dgm:cxn modelId="{368E0335-E8B8-45D4-B3E2-AE7AFDAA512C}" type="presOf" srcId="{F71545CF-346A-44D1-94CF-B682DEA980F4}" destId="{097E8114-12F3-469E-A27B-D86B1C6D839A}" srcOrd="0" destOrd="0" presId="urn:microsoft.com/office/officeart/2005/8/layout/vList6"/>
    <dgm:cxn modelId="{4811A843-0D5D-4713-9639-0BA99CEFE94F}" type="presOf" srcId="{43B127D6-B202-41CE-859F-A9536CC11A65}" destId="{41B114B4-2075-481F-8666-65F14F2E771D}" srcOrd="0" destOrd="0" presId="urn:microsoft.com/office/officeart/2005/8/layout/vList6"/>
    <dgm:cxn modelId="{89B88349-6A67-4505-BC4F-5552AF89FFF2}" srcId="{081CF36B-6A77-4296-9254-1D9087D7ADA8}" destId="{62C689BA-47C9-43B6-B4C7-A0C3B5A40739}" srcOrd="0" destOrd="0" parTransId="{311669E3-D9AD-4E46-8625-558EBCB85B62}" sibTransId="{41FB5C0A-46C1-43D3-90EC-D1329B481873}"/>
    <dgm:cxn modelId="{F17FC849-64A1-4F96-883D-1358B2661B4D}" srcId="{CCA323D9-642F-45C1-8E72-56172435493E}" destId="{B44B91CD-E277-46C6-A070-BB59D64616FE}" srcOrd="0" destOrd="0" parTransId="{155B7CA7-6EF1-4608-9347-DF87D876D227}" sibTransId="{5B77BF48-A54A-444E-8CB0-B18E7DD65AAC}"/>
    <dgm:cxn modelId="{E481D74B-F8E8-41A1-8832-98DAD6FAE3C5}" srcId="{43B127D6-B202-41CE-859F-A9536CC11A65}" destId="{081CF36B-6A77-4296-9254-1D9087D7ADA8}" srcOrd="3" destOrd="0" parTransId="{85D4CF45-00F0-49F2-B4AF-7EF38186E240}" sibTransId="{47BE6DBA-0897-4EF7-9FC9-AE83A5F75041}"/>
    <dgm:cxn modelId="{FB7B4F75-EFD9-4F32-95A0-9544100F27F4}" srcId="{43B127D6-B202-41CE-859F-A9536CC11A65}" destId="{CCA323D9-642F-45C1-8E72-56172435493E}" srcOrd="2" destOrd="0" parTransId="{7842FB8C-1677-43A9-BDBA-15C2EFA725EA}" sibTransId="{DC11CA20-F289-4E34-BDB6-FAB9743E5A66}"/>
    <dgm:cxn modelId="{C3EEFB80-1ACE-4667-9F36-FD1CCF7D50E5}" type="presOf" srcId="{7FDE9BCB-4D03-4BDB-ADEA-F7581269CF9F}" destId="{77C55A6C-86CD-46F6-A7BC-CD989BF29AD3}" srcOrd="0" destOrd="0" presId="urn:microsoft.com/office/officeart/2005/8/layout/vList6"/>
    <dgm:cxn modelId="{5265EA97-BA1F-4EA8-90B1-E3086447C344}" srcId="{43B127D6-B202-41CE-859F-A9536CC11A65}" destId="{04AD0EF0-D6FF-4038-A757-AB73630C29D8}" srcOrd="0" destOrd="0" parTransId="{3364A55B-1D4B-444F-A5B4-4A6B26961A08}" sibTransId="{819F637C-BD62-46F3-97B5-73CEB7A36381}"/>
    <dgm:cxn modelId="{0CD87B9B-A778-4049-BFBD-319F65F846C6}" type="presOf" srcId="{CCA323D9-642F-45C1-8E72-56172435493E}" destId="{688B86EE-D10B-46C7-84F8-8C0C61F717C8}" srcOrd="0" destOrd="0" presId="urn:microsoft.com/office/officeart/2005/8/layout/vList6"/>
    <dgm:cxn modelId="{42D897A3-BA63-4A12-B825-02025533ADB7}" type="presOf" srcId="{62C689BA-47C9-43B6-B4C7-A0C3B5A40739}" destId="{B61DEA13-FD87-4FB8-AB97-821EA9B9B040}" srcOrd="0" destOrd="0" presId="urn:microsoft.com/office/officeart/2005/8/layout/vList6"/>
    <dgm:cxn modelId="{291540DB-4253-4924-BEC8-171835015E99}" srcId="{04AD0EF0-D6FF-4038-A757-AB73630C29D8}" destId="{F71545CF-346A-44D1-94CF-B682DEA980F4}" srcOrd="0" destOrd="0" parTransId="{4597E3A5-2797-49E1-A20E-3F4E84B2B738}" sibTransId="{13AF8E62-FBDA-4E12-8097-07A0C7AECB9A}"/>
    <dgm:cxn modelId="{36641EDC-3994-4B2A-B437-39DA6C514DEF}" srcId="{7FDE9BCB-4D03-4BDB-ADEA-F7581269CF9F}" destId="{609C4653-2524-4161-8924-63ECBFD8719E}" srcOrd="0" destOrd="0" parTransId="{18591B58-F038-44E5-8842-3C484D2CFCBF}" sibTransId="{7A25E1B1-F8E0-4170-AE64-7C6206FA9618}"/>
    <dgm:cxn modelId="{E1DF7EDC-91A9-46A4-88BC-B2D79E9C1C8B}" srcId="{43B127D6-B202-41CE-859F-A9536CC11A65}" destId="{7FDE9BCB-4D03-4BDB-ADEA-F7581269CF9F}" srcOrd="1" destOrd="0" parTransId="{6C70A401-7D91-4526-AF1B-503BD4D075F6}" sibTransId="{75BAFCB1-9A89-4714-B653-BA598DA2AADB}"/>
    <dgm:cxn modelId="{606043E9-3113-4CFC-931B-F6D0C80579FB}" type="presOf" srcId="{B44B91CD-E277-46C6-A070-BB59D64616FE}" destId="{1DC62910-F5B0-4E12-AD2C-26B51B70F214}" srcOrd="0" destOrd="0" presId="urn:microsoft.com/office/officeart/2005/8/layout/vList6"/>
    <dgm:cxn modelId="{8273B5F8-4AF1-4B37-B6B5-1157D0A5FD31}" type="presOf" srcId="{609C4653-2524-4161-8924-63ECBFD8719E}" destId="{DD3870A4-BF67-43F5-BD9C-EFCAFD36AF9C}" srcOrd="0" destOrd="0" presId="urn:microsoft.com/office/officeart/2005/8/layout/vList6"/>
    <dgm:cxn modelId="{77E33757-A4EF-46C0-9524-4A8993DF311C}" type="presParOf" srcId="{41B114B4-2075-481F-8666-65F14F2E771D}" destId="{BB654D36-B336-424D-888A-0D63493F46B8}" srcOrd="0" destOrd="0" presId="urn:microsoft.com/office/officeart/2005/8/layout/vList6"/>
    <dgm:cxn modelId="{5D44153C-3449-4A9C-BAD1-2FA0073DEE09}" type="presParOf" srcId="{BB654D36-B336-424D-888A-0D63493F46B8}" destId="{54391A25-D2D9-4355-B400-2D7370C7C8CE}" srcOrd="0" destOrd="0" presId="urn:microsoft.com/office/officeart/2005/8/layout/vList6"/>
    <dgm:cxn modelId="{E8CBC6F7-819F-4663-B15A-ABAD0482B02B}" type="presParOf" srcId="{BB654D36-B336-424D-888A-0D63493F46B8}" destId="{097E8114-12F3-469E-A27B-D86B1C6D839A}" srcOrd="1" destOrd="0" presId="urn:microsoft.com/office/officeart/2005/8/layout/vList6"/>
    <dgm:cxn modelId="{ECAE0BB9-85C4-47EB-908B-9E9B22644695}" type="presParOf" srcId="{41B114B4-2075-481F-8666-65F14F2E771D}" destId="{4820B8F6-7CF0-40C3-8592-369BAB053290}" srcOrd="1" destOrd="0" presId="urn:microsoft.com/office/officeart/2005/8/layout/vList6"/>
    <dgm:cxn modelId="{44CBDAE2-EDB3-4D1A-B95A-B9FB0E227FE8}" type="presParOf" srcId="{41B114B4-2075-481F-8666-65F14F2E771D}" destId="{85A54C36-5914-417F-9884-C0442FF58314}" srcOrd="2" destOrd="0" presId="urn:microsoft.com/office/officeart/2005/8/layout/vList6"/>
    <dgm:cxn modelId="{1615978B-27F7-4887-AB8D-1FBD07A5FA0E}" type="presParOf" srcId="{85A54C36-5914-417F-9884-C0442FF58314}" destId="{77C55A6C-86CD-46F6-A7BC-CD989BF29AD3}" srcOrd="0" destOrd="0" presId="urn:microsoft.com/office/officeart/2005/8/layout/vList6"/>
    <dgm:cxn modelId="{34E3D3CE-AB30-47C1-A6C6-A85A3BE589A5}" type="presParOf" srcId="{85A54C36-5914-417F-9884-C0442FF58314}" destId="{DD3870A4-BF67-43F5-BD9C-EFCAFD36AF9C}" srcOrd="1" destOrd="0" presId="urn:microsoft.com/office/officeart/2005/8/layout/vList6"/>
    <dgm:cxn modelId="{D6A39605-26CB-4CFE-98E8-0E70781C3B69}" type="presParOf" srcId="{41B114B4-2075-481F-8666-65F14F2E771D}" destId="{049F547D-F5E4-4341-ABFB-A5326E94C2FD}" srcOrd="3" destOrd="0" presId="urn:microsoft.com/office/officeart/2005/8/layout/vList6"/>
    <dgm:cxn modelId="{0E30FEDA-CE76-4C96-9089-386EAF065C9F}" type="presParOf" srcId="{41B114B4-2075-481F-8666-65F14F2E771D}" destId="{8B18237F-CB70-41C0-806D-C2B1ABB4550F}" srcOrd="4" destOrd="0" presId="urn:microsoft.com/office/officeart/2005/8/layout/vList6"/>
    <dgm:cxn modelId="{6B8AFBC9-73CF-4790-9C20-2E03EF0A80C2}" type="presParOf" srcId="{8B18237F-CB70-41C0-806D-C2B1ABB4550F}" destId="{688B86EE-D10B-46C7-84F8-8C0C61F717C8}" srcOrd="0" destOrd="0" presId="urn:microsoft.com/office/officeart/2005/8/layout/vList6"/>
    <dgm:cxn modelId="{1C98C4F8-E46F-473D-BC65-CD40CD969BF5}" type="presParOf" srcId="{8B18237F-CB70-41C0-806D-C2B1ABB4550F}" destId="{1DC62910-F5B0-4E12-AD2C-26B51B70F214}" srcOrd="1" destOrd="0" presId="urn:microsoft.com/office/officeart/2005/8/layout/vList6"/>
    <dgm:cxn modelId="{08E8C029-BE00-4C32-8C20-74A5A018073D}" type="presParOf" srcId="{41B114B4-2075-481F-8666-65F14F2E771D}" destId="{6B8532DA-A002-4BDB-9063-DB94DCA0C567}" srcOrd="5" destOrd="0" presId="urn:microsoft.com/office/officeart/2005/8/layout/vList6"/>
    <dgm:cxn modelId="{F3C69591-406B-4C9A-ACED-0D3ED132185D}" type="presParOf" srcId="{41B114B4-2075-481F-8666-65F14F2E771D}" destId="{E5B2ED6C-AE68-44CD-8657-CA3977AF12CD}" srcOrd="6" destOrd="0" presId="urn:microsoft.com/office/officeart/2005/8/layout/vList6"/>
    <dgm:cxn modelId="{1B1D2DB8-F178-4834-A675-7B7CCFD97BD8}" type="presParOf" srcId="{E5B2ED6C-AE68-44CD-8657-CA3977AF12CD}" destId="{19D55732-39F8-4659-9F37-B937D64447A3}" srcOrd="0" destOrd="0" presId="urn:microsoft.com/office/officeart/2005/8/layout/vList6"/>
    <dgm:cxn modelId="{ED56B919-FBC5-4C76-B084-266F255586B2}" type="presParOf" srcId="{E5B2ED6C-AE68-44CD-8657-CA3977AF12CD}" destId="{B61DEA13-FD87-4FB8-AB97-821EA9B9B040}"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33FD921-6DE9-48F3-8999-C12958F5E883}"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A118B11D-B6BB-48DD-AD9C-C35C36378646}">
      <dgm:prSet/>
      <dgm:spPr/>
      <dgm:t>
        <a:bodyPr/>
        <a:lstStyle/>
        <a:p>
          <a:r>
            <a:rPr lang="en-US" baseline="0" dirty="0"/>
            <a:t>Execution count</a:t>
          </a:r>
          <a:endParaRPr lang="en-US" dirty="0"/>
        </a:p>
      </dgm:t>
    </dgm:pt>
    <dgm:pt modelId="{4ACE8C65-D436-4C19-8616-4704BF458D4F}" type="parTrans" cxnId="{96F1D2DE-0426-407E-B279-3CCBC784E5F0}">
      <dgm:prSet/>
      <dgm:spPr/>
      <dgm:t>
        <a:bodyPr/>
        <a:lstStyle/>
        <a:p>
          <a:endParaRPr lang="en-US"/>
        </a:p>
      </dgm:t>
    </dgm:pt>
    <dgm:pt modelId="{E51CE05F-E590-433D-BE7B-BCBFFCEE8D81}" type="sibTrans" cxnId="{96F1D2DE-0426-407E-B279-3CCBC784E5F0}">
      <dgm:prSet/>
      <dgm:spPr/>
      <dgm:t>
        <a:bodyPr/>
        <a:lstStyle/>
        <a:p>
          <a:endParaRPr lang="en-US"/>
        </a:p>
      </dgm:t>
    </dgm:pt>
    <dgm:pt modelId="{846D2057-5414-45C4-98B4-7CA0DD0D6675}">
      <dgm:prSet/>
      <dgm:spPr/>
      <dgm:t>
        <a:bodyPr/>
        <a:lstStyle/>
        <a:p>
          <a:r>
            <a:rPr lang="en-US" dirty="0"/>
            <a:t>Worker time</a:t>
          </a:r>
        </a:p>
      </dgm:t>
    </dgm:pt>
    <dgm:pt modelId="{940A18CD-47AA-4BCC-9340-A52AAC03ABA9}" type="parTrans" cxnId="{515E6093-0B85-4604-9AA7-81DC48D2F7E9}">
      <dgm:prSet/>
      <dgm:spPr/>
      <dgm:t>
        <a:bodyPr/>
        <a:lstStyle/>
        <a:p>
          <a:endParaRPr lang="en-US"/>
        </a:p>
      </dgm:t>
    </dgm:pt>
    <dgm:pt modelId="{751DD2C6-1089-4DA5-A1C7-160ACC842AFC}" type="sibTrans" cxnId="{515E6093-0B85-4604-9AA7-81DC48D2F7E9}">
      <dgm:prSet/>
      <dgm:spPr/>
      <dgm:t>
        <a:bodyPr/>
        <a:lstStyle/>
        <a:p>
          <a:endParaRPr lang="en-US"/>
        </a:p>
      </dgm:t>
    </dgm:pt>
    <dgm:pt modelId="{B3C92D0E-CBEB-408C-BBA8-012C9D0B8531}">
      <dgm:prSet/>
      <dgm:spPr/>
      <dgm:t>
        <a:bodyPr/>
        <a:lstStyle/>
        <a:p>
          <a:r>
            <a:rPr lang="en-US" baseline="0" dirty="0"/>
            <a:t>Physical read</a:t>
          </a:r>
          <a:endParaRPr lang="en-US" dirty="0"/>
        </a:p>
      </dgm:t>
    </dgm:pt>
    <dgm:pt modelId="{D3F2243A-A480-480B-AA32-B0E05342195F}" type="parTrans" cxnId="{5A52FFE9-5DDC-4AAD-8A36-5A9ED37B2D3C}">
      <dgm:prSet/>
      <dgm:spPr/>
      <dgm:t>
        <a:bodyPr/>
        <a:lstStyle/>
        <a:p>
          <a:endParaRPr lang="en-US"/>
        </a:p>
      </dgm:t>
    </dgm:pt>
    <dgm:pt modelId="{E602A4AF-1DC3-419D-AA49-C657FBEF3D27}" type="sibTrans" cxnId="{5A52FFE9-5DDC-4AAD-8A36-5A9ED37B2D3C}">
      <dgm:prSet/>
      <dgm:spPr/>
      <dgm:t>
        <a:bodyPr/>
        <a:lstStyle/>
        <a:p>
          <a:endParaRPr lang="en-US"/>
        </a:p>
      </dgm:t>
    </dgm:pt>
    <dgm:pt modelId="{4C805EDD-7620-421C-B822-7EF0DCB047BC}">
      <dgm:prSet/>
      <dgm:spPr/>
      <dgm:t>
        <a:bodyPr/>
        <a:lstStyle/>
        <a:p>
          <a:r>
            <a:rPr lang="en-US" baseline="0" dirty="0"/>
            <a:t>Logical reads</a:t>
          </a:r>
          <a:endParaRPr lang="en-US" dirty="0"/>
        </a:p>
      </dgm:t>
    </dgm:pt>
    <dgm:pt modelId="{6454531E-D3B5-4CCF-9D65-B9C25BF891D5}" type="parTrans" cxnId="{E260FB7D-E3D9-4FC6-B010-3697CDFA358D}">
      <dgm:prSet/>
      <dgm:spPr/>
      <dgm:t>
        <a:bodyPr/>
        <a:lstStyle/>
        <a:p>
          <a:endParaRPr lang="en-US"/>
        </a:p>
      </dgm:t>
    </dgm:pt>
    <dgm:pt modelId="{A43ECC7E-9E1B-44C3-954D-1E205CF7448E}" type="sibTrans" cxnId="{E260FB7D-E3D9-4FC6-B010-3697CDFA358D}">
      <dgm:prSet/>
      <dgm:spPr/>
      <dgm:t>
        <a:bodyPr/>
        <a:lstStyle/>
        <a:p>
          <a:endParaRPr lang="en-US"/>
        </a:p>
      </dgm:t>
    </dgm:pt>
    <dgm:pt modelId="{C0A4DDD8-8C1E-4B37-9E15-A80844D56A62}">
      <dgm:prSet/>
      <dgm:spPr/>
      <dgm:t>
        <a:bodyPr/>
        <a:lstStyle/>
        <a:p>
          <a:r>
            <a:rPr lang="en-US" baseline="0" dirty="0"/>
            <a:t>Memory consumption</a:t>
          </a:r>
          <a:endParaRPr lang="en-US" dirty="0"/>
        </a:p>
      </dgm:t>
    </dgm:pt>
    <dgm:pt modelId="{D0043AFD-56AA-4CC4-85C7-CE53084EECD0}" type="parTrans" cxnId="{11EA69D1-9935-45DB-BBFC-F089EAE66033}">
      <dgm:prSet/>
      <dgm:spPr/>
      <dgm:t>
        <a:bodyPr/>
        <a:lstStyle/>
        <a:p>
          <a:endParaRPr lang="en-US"/>
        </a:p>
      </dgm:t>
    </dgm:pt>
    <dgm:pt modelId="{B6AF65F0-FCC4-41CF-8DAA-812CD7ACDA6A}" type="sibTrans" cxnId="{11EA69D1-9935-45DB-BBFC-F089EAE66033}">
      <dgm:prSet/>
      <dgm:spPr/>
      <dgm:t>
        <a:bodyPr/>
        <a:lstStyle/>
        <a:p>
          <a:endParaRPr lang="en-US"/>
        </a:p>
      </dgm:t>
    </dgm:pt>
    <dgm:pt modelId="{2FA8E964-E5DA-46B4-939E-5CBDDC5CA756}">
      <dgm:prSet/>
      <dgm:spPr/>
      <dgm:t>
        <a:bodyPr/>
        <a:lstStyle/>
        <a:p>
          <a:r>
            <a:rPr lang="en-US" dirty="0"/>
            <a:t>Elapsed time</a:t>
          </a:r>
        </a:p>
      </dgm:t>
    </dgm:pt>
    <dgm:pt modelId="{5E2DC8D1-CA44-4E04-90F6-D84367A2775D}" type="parTrans" cxnId="{5973163C-46D6-48B6-AB22-BE2AFC244EDC}">
      <dgm:prSet/>
      <dgm:spPr/>
      <dgm:t>
        <a:bodyPr/>
        <a:lstStyle/>
        <a:p>
          <a:endParaRPr lang="en-US"/>
        </a:p>
      </dgm:t>
    </dgm:pt>
    <dgm:pt modelId="{BBE10C00-3D5C-47B0-8B10-D4B152FE5B8F}" type="sibTrans" cxnId="{5973163C-46D6-48B6-AB22-BE2AFC244EDC}">
      <dgm:prSet/>
      <dgm:spPr/>
      <dgm:t>
        <a:bodyPr/>
        <a:lstStyle/>
        <a:p>
          <a:endParaRPr lang="en-US"/>
        </a:p>
      </dgm:t>
    </dgm:pt>
    <dgm:pt modelId="{2F85516D-35C1-4A66-BA98-02006992FADF}">
      <dgm:prSet/>
      <dgm:spPr/>
      <dgm:t>
        <a:bodyPr/>
        <a:lstStyle/>
        <a:p>
          <a:r>
            <a:rPr lang="en-US" dirty="0"/>
            <a:t>Row count</a:t>
          </a:r>
        </a:p>
      </dgm:t>
    </dgm:pt>
    <dgm:pt modelId="{323F9B53-9E87-4D35-A6C4-83A6B12DF6D6}" type="parTrans" cxnId="{8CC3D771-816E-492F-97F3-3B8E13A4B55C}">
      <dgm:prSet/>
      <dgm:spPr/>
      <dgm:t>
        <a:bodyPr/>
        <a:lstStyle/>
        <a:p>
          <a:endParaRPr lang="en-US"/>
        </a:p>
      </dgm:t>
    </dgm:pt>
    <dgm:pt modelId="{399AF144-B35D-4264-95D6-2587445A3A30}" type="sibTrans" cxnId="{8CC3D771-816E-492F-97F3-3B8E13A4B55C}">
      <dgm:prSet/>
      <dgm:spPr/>
      <dgm:t>
        <a:bodyPr/>
        <a:lstStyle/>
        <a:p>
          <a:endParaRPr lang="en-US"/>
        </a:p>
      </dgm:t>
    </dgm:pt>
    <dgm:pt modelId="{4D3D9F9E-491F-48D4-8D24-983916AA90A4}">
      <dgm:prSet/>
      <dgm:spPr/>
      <dgm:t>
        <a:bodyPr/>
        <a:lstStyle/>
        <a:p>
          <a:r>
            <a:rPr lang="en-US" dirty="0"/>
            <a:t>Spills</a:t>
          </a:r>
        </a:p>
      </dgm:t>
    </dgm:pt>
    <dgm:pt modelId="{D37895DB-1D33-44E5-913C-21E1F3E16075}" type="parTrans" cxnId="{94DC4887-BA2D-4A42-B65E-6FCBF86853AB}">
      <dgm:prSet/>
      <dgm:spPr/>
      <dgm:t>
        <a:bodyPr/>
        <a:lstStyle/>
        <a:p>
          <a:endParaRPr lang="en-US"/>
        </a:p>
      </dgm:t>
    </dgm:pt>
    <dgm:pt modelId="{F522D55D-04C0-4281-B259-A7DF7DA04F20}" type="sibTrans" cxnId="{94DC4887-BA2D-4A42-B65E-6FCBF86853AB}">
      <dgm:prSet/>
      <dgm:spPr/>
      <dgm:t>
        <a:bodyPr/>
        <a:lstStyle/>
        <a:p>
          <a:endParaRPr lang="en-US"/>
        </a:p>
      </dgm:t>
    </dgm:pt>
    <dgm:pt modelId="{E72D0B29-E0E4-4566-B4DE-7050BC8D47A5}" type="pres">
      <dgm:prSet presAssocID="{C33FD921-6DE9-48F3-8999-C12958F5E883}" presName="linear" presStyleCnt="0">
        <dgm:presLayoutVars>
          <dgm:animLvl val="lvl"/>
          <dgm:resizeHandles val="exact"/>
        </dgm:presLayoutVars>
      </dgm:prSet>
      <dgm:spPr/>
    </dgm:pt>
    <dgm:pt modelId="{CA9FD43F-B116-44D8-A634-5BFAE6E1AA90}" type="pres">
      <dgm:prSet presAssocID="{A118B11D-B6BB-48DD-AD9C-C35C36378646}" presName="parentText" presStyleLbl="node1" presStyleIdx="0" presStyleCnt="8">
        <dgm:presLayoutVars>
          <dgm:chMax val="0"/>
          <dgm:bulletEnabled val="1"/>
        </dgm:presLayoutVars>
      </dgm:prSet>
      <dgm:spPr/>
    </dgm:pt>
    <dgm:pt modelId="{87A6E5F2-D623-4050-8F92-65FD2BC8C955}" type="pres">
      <dgm:prSet presAssocID="{E51CE05F-E590-433D-BE7B-BCBFFCEE8D81}" presName="spacer" presStyleCnt="0"/>
      <dgm:spPr/>
    </dgm:pt>
    <dgm:pt modelId="{2188DE46-950A-44E0-A8B0-CD8EFEA6C151}" type="pres">
      <dgm:prSet presAssocID="{846D2057-5414-45C4-98B4-7CA0DD0D6675}" presName="parentText" presStyleLbl="node1" presStyleIdx="1" presStyleCnt="8">
        <dgm:presLayoutVars>
          <dgm:chMax val="0"/>
          <dgm:bulletEnabled val="1"/>
        </dgm:presLayoutVars>
      </dgm:prSet>
      <dgm:spPr/>
    </dgm:pt>
    <dgm:pt modelId="{543061D1-B872-42C5-9EDD-1508DF1B7DC8}" type="pres">
      <dgm:prSet presAssocID="{751DD2C6-1089-4DA5-A1C7-160ACC842AFC}" presName="spacer" presStyleCnt="0"/>
      <dgm:spPr/>
    </dgm:pt>
    <dgm:pt modelId="{00AC3774-2F5B-41F4-9613-FD78AB0A3D33}" type="pres">
      <dgm:prSet presAssocID="{B3C92D0E-CBEB-408C-BBA8-012C9D0B8531}" presName="parentText" presStyleLbl="node1" presStyleIdx="2" presStyleCnt="8">
        <dgm:presLayoutVars>
          <dgm:chMax val="0"/>
          <dgm:bulletEnabled val="1"/>
        </dgm:presLayoutVars>
      </dgm:prSet>
      <dgm:spPr/>
    </dgm:pt>
    <dgm:pt modelId="{A52BD233-DFEF-47CE-BCA8-5A86CDA5F78A}" type="pres">
      <dgm:prSet presAssocID="{E602A4AF-1DC3-419D-AA49-C657FBEF3D27}" presName="spacer" presStyleCnt="0"/>
      <dgm:spPr/>
    </dgm:pt>
    <dgm:pt modelId="{ADB81461-1BAD-42E8-8951-7926DFB44DB9}" type="pres">
      <dgm:prSet presAssocID="{4C805EDD-7620-421C-B822-7EF0DCB047BC}" presName="parentText" presStyleLbl="node1" presStyleIdx="3" presStyleCnt="8">
        <dgm:presLayoutVars>
          <dgm:chMax val="0"/>
          <dgm:bulletEnabled val="1"/>
        </dgm:presLayoutVars>
      </dgm:prSet>
      <dgm:spPr/>
    </dgm:pt>
    <dgm:pt modelId="{D61EC79D-179B-4098-A26D-7DCAEC58638F}" type="pres">
      <dgm:prSet presAssocID="{A43ECC7E-9E1B-44C3-954D-1E205CF7448E}" presName="spacer" presStyleCnt="0"/>
      <dgm:spPr/>
    </dgm:pt>
    <dgm:pt modelId="{AC47D6B1-4844-4DF3-A3BB-850F4BBCC674}" type="pres">
      <dgm:prSet presAssocID="{2FA8E964-E5DA-46B4-939E-5CBDDC5CA756}" presName="parentText" presStyleLbl="node1" presStyleIdx="4" presStyleCnt="8">
        <dgm:presLayoutVars>
          <dgm:chMax val="0"/>
          <dgm:bulletEnabled val="1"/>
        </dgm:presLayoutVars>
      </dgm:prSet>
      <dgm:spPr/>
    </dgm:pt>
    <dgm:pt modelId="{846642A2-033F-4DA7-A40E-64414758E485}" type="pres">
      <dgm:prSet presAssocID="{BBE10C00-3D5C-47B0-8B10-D4B152FE5B8F}" presName="spacer" presStyleCnt="0"/>
      <dgm:spPr/>
    </dgm:pt>
    <dgm:pt modelId="{A4B8DADE-7CBD-4991-BE41-E0572C3734D1}" type="pres">
      <dgm:prSet presAssocID="{2F85516D-35C1-4A66-BA98-02006992FADF}" presName="parentText" presStyleLbl="node1" presStyleIdx="5" presStyleCnt="8">
        <dgm:presLayoutVars>
          <dgm:chMax val="0"/>
          <dgm:bulletEnabled val="1"/>
        </dgm:presLayoutVars>
      </dgm:prSet>
      <dgm:spPr/>
    </dgm:pt>
    <dgm:pt modelId="{921B7E6A-D53D-4AC2-B7FF-C130B61BCC8D}" type="pres">
      <dgm:prSet presAssocID="{399AF144-B35D-4264-95D6-2587445A3A30}" presName="spacer" presStyleCnt="0"/>
      <dgm:spPr/>
    </dgm:pt>
    <dgm:pt modelId="{18BBA3A3-5B22-4686-A138-349B603E9E3D}" type="pres">
      <dgm:prSet presAssocID="{C0A4DDD8-8C1E-4B37-9E15-A80844D56A62}" presName="parentText" presStyleLbl="node1" presStyleIdx="6" presStyleCnt="8">
        <dgm:presLayoutVars>
          <dgm:chMax val="0"/>
          <dgm:bulletEnabled val="1"/>
        </dgm:presLayoutVars>
      </dgm:prSet>
      <dgm:spPr/>
    </dgm:pt>
    <dgm:pt modelId="{5C8FC200-0550-4782-9759-2AB0AFF17B62}" type="pres">
      <dgm:prSet presAssocID="{B6AF65F0-FCC4-41CF-8DAA-812CD7ACDA6A}" presName="spacer" presStyleCnt="0"/>
      <dgm:spPr/>
    </dgm:pt>
    <dgm:pt modelId="{F2C617A2-4343-4A54-A451-84BA96676C27}" type="pres">
      <dgm:prSet presAssocID="{4D3D9F9E-491F-48D4-8D24-983916AA90A4}" presName="parentText" presStyleLbl="node1" presStyleIdx="7" presStyleCnt="8">
        <dgm:presLayoutVars>
          <dgm:chMax val="0"/>
          <dgm:bulletEnabled val="1"/>
        </dgm:presLayoutVars>
      </dgm:prSet>
      <dgm:spPr/>
    </dgm:pt>
  </dgm:ptLst>
  <dgm:cxnLst>
    <dgm:cxn modelId="{5973163C-46D6-48B6-AB22-BE2AFC244EDC}" srcId="{C33FD921-6DE9-48F3-8999-C12958F5E883}" destId="{2FA8E964-E5DA-46B4-939E-5CBDDC5CA756}" srcOrd="4" destOrd="0" parTransId="{5E2DC8D1-CA44-4E04-90F6-D84367A2775D}" sibTransId="{BBE10C00-3D5C-47B0-8B10-D4B152FE5B8F}"/>
    <dgm:cxn modelId="{8CC3D771-816E-492F-97F3-3B8E13A4B55C}" srcId="{C33FD921-6DE9-48F3-8999-C12958F5E883}" destId="{2F85516D-35C1-4A66-BA98-02006992FADF}" srcOrd="5" destOrd="0" parTransId="{323F9B53-9E87-4D35-A6C4-83A6B12DF6D6}" sibTransId="{399AF144-B35D-4264-95D6-2587445A3A30}"/>
    <dgm:cxn modelId="{E9CF7B59-9FDC-44D2-B532-DD86DE41B69F}" type="presOf" srcId="{4D3D9F9E-491F-48D4-8D24-983916AA90A4}" destId="{F2C617A2-4343-4A54-A451-84BA96676C27}" srcOrd="0" destOrd="0" presId="urn:microsoft.com/office/officeart/2005/8/layout/vList2"/>
    <dgm:cxn modelId="{E260FB7D-E3D9-4FC6-B010-3697CDFA358D}" srcId="{C33FD921-6DE9-48F3-8999-C12958F5E883}" destId="{4C805EDD-7620-421C-B822-7EF0DCB047BC}" srcOrd="3" destOrd="0" parTransId="{6454531E-D3B5-4CCF-9D65-B9C25BF891D5}" sibTransId="{A43ECC7E-9E1B-44C3-954D-1E205CF7448E}"/>
    <dgm:cxn modelId="{94DC4887-BA2D-4A42-B65E-6FCBF86853AB}" srcId="{C33FD921-6DE9-48F3-8999-C12958F5E883}" destId="{4D3D9F9E-491F-48D4-8D24-983916AA90A4}" srcOrd="7" destOrd="0" parTransId="{D37895DB-1D33-44E5-913C-21E1F3E16075}" sibTransId="{F522D55D-04C0-4281-B259-A7DF7DA04F20}"/>
    <dgm:cxn modelId="{4F12DC8B-7DC5-4FA8-AA25-86BE434A5119}" type="presOf" srcId="{4C805EDD-7620-421C-B822-7EF0DCB047BC}" destId="{ADB81461-1BAD-42E8-8951-7926DFB44DB9}" srcOrd="0" destOrd="0" presId="urn:microsoft.com/office/officeart/2005/8/layout/vList2"/>
    <dgm:cxn modelId="{F53D2590-D210-4AAC-BFEF-ABEBEF49C8F8}" type="presOf" srcId="{C0A4DDD8-8C1E-4B37-9E15-A80844D56A62}" destId="{18BBA3A3-5B22-4686-A138-349B603E9E3D}" srcOrd="0" destOrd="0" presId="urn:microsoft.com/office/officeart/2005/8/layout/vList2"/>
    <dgm:cxn modelId="{29E4A092-80E0-475B-A619-BBED6050BB66}" type="presOf" srcId="{2F85516D-35C1-4A66-BA98-02006992FADF}" destId="{A4B8DADE-7CBD-4991-BE41-E0572C3734D1}" srcOrd="0" destOrd="0" presId="urn:microsoft.com/office/officeart/2005/8/layout/vList2"/>
    <dgm:cxn modelId="{515E6093-0B85-4604-9AA7-81DC48D2F7E9}" srcId="{C33FD921-6DE9-48F3-8999-C12958F5E883}" destId="{846D2057-5414-45C4-98B4-7CA0DD0D6675}" srcOrd="1" destOrd="0" parTransId="{940A18CD-47AA-4BCC-9340-A52AAC03ABA9}" sibTransId="{751DD2C6-1089-4DA5-A1C7-160ACC842AFC}"/>
    <dgm:cxn modelId="{4AA5CBA5-3BC8-4ACD-A7E7-ED7B12E364AD}" type="presOf" srcId="{B3C92D0E-CBEB-408C-BBA8-012C9D0B8531}" destId="{00AC3774-2F5B-41F4-9613-FD78AB0A3D33}" srcOrd="0" destOrd="0" presId="urn:microsoft.com/office/officeart/2005/8/layout/vList2"/>
    <dgm:cxn modelId="{FC8254A8-D1C5-4487-B9FD-E87C284F1463}" type="presOf" srcId="{846D2057-5414-45C4-98B4-7CA0DD0D6675}" destId="{2188DE46-950A-44E0-A8B0-CD8EFEA6C151}" srcOrd="0" destOrd="0" presId="urn:microsoft.com/office/officeart/2005/8/layout/vList2"/>
    <dgm:cxn modelId="{C46FC2BE-B93D-47A9-AD24-B1A5D82EFE23}" type="presOf" srcId="{A118B11D-B6BB-48DD-AD9C-C35C36378646}" destId="{CA9FD43F-B116-44D8-A634-5BFAE6E1AA90}" srcOrd="0" destOrd="0" presId="urn:microsoft.com/office/officeart/2005/8/layout/vList2"/>
    <dgm:cxn modelId="{86A0AACF-7236-4B67-9452-7EDC8647D0B0}" type="presOf" srcId="{2FA8E964-E5DA-46B4-939E-5CBDDC5CA756}" destId="{AC47D6B1-4844-4DF3-A3BB-850F4BBCC674}" srcOrd="0" destOrd="0" presId="urn:microsoft.com/office/officeart/2005/8/layout/vList2"/>
    <dgm:cxn modelId="{11EA69D1-9935-45DB-BBFC-F089EAE66033}" srcId="{C33FD921-6DE9-48F3-8999-C12958F5E883}" destId="{C0A4DDD8-8C1E-4B37-9E15-A80844D56A62}" srcOrd="6" destOrd="0" parTransId="{D0043AFD-56AA-4CC4-85C7-CE53084EECD0}" sibTransId="{B6AF65F0-FCC4-41CF-8DAA-812CD7ACDA6A}"/>
    <dgm:cxn modelId="{96F1D2DE-0426-407E-B279-3CCBC784E5F0}" srcId="{C33FD921-6DE9-48F3-8999-C12958F5E883}" destId="{A118B11D-B6BB-48DD-AD9C-C35C36378646}" srcOrd="0" destOrd="0" parTransId="{4ACE8C65-D436-4C19-8616-4704BF458D4F}" sibTransId="{E51CE05F-E590-433D-BE7B-BCBFFCEE8D81}"/>
    <dgm:cxn modelId="{5A52FFE9-5DDC-4AAD-8A36-5A9ED37B2D3C}" srcId="{C33FD921-6DE9-48F3-8999-C12958F5E883}" destId="{B3C92D0E-CBEB-408C-BBA8-012C9D0B8531}" srcOrd="2" destOrd="0" parTransId="{D3F2243A-A480-480B-AA32-B0E05342195F}" sibTransId="{E602A4AF-1DC3-419D-AA49-C657FBEF3D27}"/>
    <dgm:cxn modelId="{55594DEF-7E12-49C0-A81A-441938EF4EC5}" type="presOf" srcId="{C33FD921-6DE9-48F3-8999-C12958F5E883}" destId="{E72D0B29-E0E4-4566-B4DE-7050BC8D47A5}" srcOrd="0" destOrd="0" presId="urn:microsoft.com/office/officeart/2005/8/layout/vList2"/>
    <dgm:cxn modelId="{07F8F5EA-5883-4CF0-943A-8A49E8C382EE}" type="presParOf" srcId="{E72D0B29-E0E4-4566-B4DE-7050BC8D47A5}" destId="{CA9FD43F-B116-44D8-A634-5BFAE6E1AA90}" srcOrd="0" destOrd="0" presId="urn:microsoft.com/office/officeart/2005/8/layout/vList2"/>
    <dgm:cxn modelId="{33EF6DED-3590-4CDD-B238-616B8BCFEEF1}" type="presParOf" srcId="{E72D0B29-E0E4-4566-B4DE-7050BC8D47A5}" destId="{87A6E5F2-D623-4050-8F92-65FD2BC8C955}" srcOrd="1" destOrd="0" presId="urn:microsoft.com/office/officeart/2005/8/layout/vList2"/>
    <dgm:cxn modelId="{DAFF6138-5DF2-445C-8995-C37DC7C76C5D}" type="presParOf" srcId="{E72D0B29-E0E4-4566-B4DE-7050BC8D47A5}" destId="{2188DE46-950A-44E0-A8B0-CD8EFEA6C151}" srcOrd="2" destOrd="0" presId="urn:microsoft.com/office/officeart/2005/8/layout/vList2"/>
    <dgm:cxn modelId="{EDCED811-4423-4C02-A6BC-DBB1BC9390EF}" type="presParOf" srcId="{E72D0B29-E0E4-4566-B4DE-7050BC8D47A5}" destId="{543061D1-B872-42C5-9EDD-1508DF1B7DC8}" srcOrd="3" destOrd="0" presId="urn:microsoft.com/office/officeart/2005/8/layout/vList2"/>
    <dgm:cxn modelId="{10C3BC17-AB49-47DA-B0FB-1A6782B6D9E5}" type="presParOf" srcId="{E72D0B29-E0E4-4566-B4DE-7050BC8D47A5}" destId="{00AC3774-2F5B-41F4-9613-FD78AB0A3D33}" srcOrd="4" destOrd="0" presId="urn:microsoft.com/office/officeart/2005/8/layout/vList2"/>
    <dgm:cxn modelId="{01766CB6-417A-4B46-9ED1-BCD9824F13EC}" type="presParOf" srcId="{E72D0B29-E0E4-4566-B4DE-7050BC8D47A5}" destId="{A52BD233-DFEF-47CE-BCA8-5A86CDA5F78A}" srcOrd="5" destOrd="0" presId="urn:microsoft.com/office/officeart/2005/8/layout/vList2"/>
    <dgm:cxn modelId="{851A38BA-FC85-414A-9EE9-01D3D119943C}" type="presParOf" srcId="{E72D0B29-E0E4-4566-B4DE-7050BC8D47A5}" destId="{ADB81461-1BAD-42E8-8951-7926DFB44DB9}" srcOrd="6" destOrd="0" presId="urn:microsoft.com/office/officeart/2005/8/layout/vList2"/>
    <dgm:cxn modelId="{60287A26-C524-4B24-88D7-F7F23F984C17}" type="presParOf" srcId="{E72D0B29-E0E4-4566-B4DE-7050BC8D47A5}" destId="{D61EC79D-179B-4098-A26D-7DCAEC58638F}" srcOrd="7" destOrd="0" presId="urn:microsoft.com/office/officeart/2005/8/layout/vList2"/>
    <dgm:cxn modelId="{EAB443AD-DAFC-4C7E-828A-66EA7AA12B32}" type="presParOf" srcId="{E72D0B29-E0E4-4566-B4DE-7050BC8D47A5}" destId="{AC47D6B1-4844-4DF3-A3BB-850F4BBCC674}" srcOrd="8" destOrd="0" presId="urn:microsoft.com/office/officeart/2005/8/layout/vList2"/>
    <dgm:cxn modelId="{8B887929-8B3F-4245-AF74-6EBFF8F4E0D5}" type="presParOf" srcId="{E72D0B29-E0E4-4566-B4DE-7050BC8D47A5}" destId="{846642A2-033F-4DA7-A40E-64414758E485}" srcOrd="9" destOrd="0" presId="urn:microsoft.com/office/officeart/2005/8/layout/vList2"/>
    <dgm:cxn modelId="{A9F5413E-4073-47F5-B488-54848ADD7DCF}" type="presParOf" srcId="{E72D0B29-E0E4-4566-B4DE-7050BC8D47A5}" destId="{A4B8DADE-7CBD-4991-BE41-E0572C3734D1}" srcOrd="10" destOrd="0" presId="urn:microsoft.com/office/officeart/2005/8/layout/vList2"/>
    <dgm:cxn modelId="{0C3DF8BC-95B9-4C1C-86BC-BB1054C37DAA}" type="presParOf" srcId="{E72D0B29-E0E4-4566-B4DE-7050BC8D47A5}" destId="{921B7E6A-D53D-4AC2-B7FF-C130B61BCC8D}" srcOrd="11" destOrd="0" presId="urn:microsoft.com/office/officeart/2005/8/layout/vList2"/>
    <dgm:cxn modelId="{2907E753-7931-414C-B388-6E9ED957BD48}" type="presParOf" srcId="{E72D0B29-E0E4-4566-B4DE-7050BC8D47A5}" destId="{18BBA3A3-5B22-4686-A138-349B603E9E3D}" srcOrd="12" destOrd="0" presId="urn:microsoft.com/office/officeart/2005/8/layout/vList2"/>
    <dgm:cxn modelId="{3915EFF6-4EBF-49AF-8B3A-82D1073D8FAC}" type="presParOf" srcId="{E72D0B29-E0E4-4566-B4DE-7050BC8D47A5}" destId="{5C8FC200-0550-4782-9759-2AB0AFF17B62}" srcOrd="13" destOrd="0" presId="urn:microsoft.com/office/officeart/2005/8/layout/vList2"/>
    <dgm:cxn modelId="{76780184-A8B7-4D65-A2AE-A8580E3F1A52}" type="presParOf" srcId="{E72D0B29-E0E4-4566-B4DE-7050BC8D47A5}" destId="{F2C617A2-4343-4A54-A451-84BA96676C27}" srcOrd="1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2AB5958-98AE-40E1-A2BC-F86615DC227C}"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DCD1F75D-2D97-44B6-A92E-EC894FC36B47}">
      <dgm:prSet custT="1"/>
      <dgm:spPr/>
      <dgm:t>
        <a:bodyPr/>
        <a:lstStyle/>
        <a:p>
          <a:r>
            <a:rPr lang="en-US" sz="2400" baseline="0" dirty="0"/>
            <a:t>Aggregate statistics</a:t>
          </a:r>
          <a:endParaRPr lang="en-US" sz="2400" dirty="0"/>
        </a:p>
      </dgm:t>
    </dgm:pt>
    <dgm:pt modelId="{9FE8E6AC-5701-4D6B-A913-DEDE92F7D941}" type="parTrans" cxnId="{1DFA3628-3410-48AE-B712-78A93C680D4D}">
      <dgm:prSet/>
      <dgm:spPr/>
      <dgm:t>
        <a:bodyPr/>
        <a:lstStyle/>
        <a:p>
          <a:endParaRPr lang="en-US"/>
        </a:p>
      </dgm:t>
    </dgm:pt>
    <dgm:pt modelId="{DD27E47A-3149-4600-960F-15C0F9BAEE9F}" type="sibTrans" cxnId="{1DFA3628-3410-48AE-B712-78A93C680D4D}">
      <dgm:prSet/>
      <dgm:spPr/>
      <dgm:t>
        <a:bodyPr/>
        <a:lstStyle/>
        <a:p>
          <a:endParaRPr lang="en-US"/>
        </a:p>
      </dgm:t>
    </dgm:pt>
    <dgm:pt modelId="{A9C32C13-B177-4B93-A47D-30D57A824AF9}">
      <dgm:prSet custT="1"/>
      <dgm:spPr/>
      <dgm:t>
        <a:bodyPr/>
        <a:lstStyle/>
        <a:p>
          <a:r>
            <a:rPr lang="en-US" sz="2400" baseline="0" dirty="0"/>
            <a:t>Total</a:t>
          </a:r>
          <a:endParaRPr lang="en-US" sz="2400" dirty="0"/>
        </a:p>
      </dgm:t>
    </dgm:pt>
    <dgm:pt modelId="{703F067C-741F-4258-B8BA-89D921E963CE}" type="parTrans" cxnId="{A45EBB10-FCE5-433A-83DF-1FCE4B96C5F6}">
      <dgm:prSet/>
      <dgm:spPr/>
      <dgm:t>
        <a:bodyPr/>
        <a:lstStyle/>
        <a:p>
          <a:endParaRPr lang="en-US"/>
        </a:p>
      </dgm:t>
    </dgm:pt>
    <dgm:pt modelId="{E7A0F065-0970-49E3-9192-65570AF32302}" type="sibTrans" cxnId="{A45EBB10-FCE5-433A-83DF-1FCE4B96C5F6}">
      <dgm:prSet/>
      <dgm:spPr/>
      <dgm:t>
        <a:bodyPr/>
        <a:lstStyle/>
        <a:p>
          <a:endParaRPr lang="en-US"/>
        </a:p>
      </dgm:t>
    </dgm:pt>
    <dgm:pt modelId="{CF11DFE6-E9E5-4BA4-9CFC-99A24BE8D98C}">
      <dgm:prSet custT="1"/>
      <dgm:spPr/>
      <dgm:t>
        <a:bodyPr/>
        <a:lstStyle/>
        <a:p>
          <a:r>
            <a:rPr lang="en-US" sz="2400" baseline="0" dirty="0"/>
            <a:t>Last</a:t>
          </a:r>
          <a:endParaRPr lang="en-US" sz="2400" dirty="0"/>
        </a:p>
      </dgm:t>
    </dgm:pt>
    <dgm:pt modelId="{E8B47A28-7198-4C3C-83F2-C3B7BB4737FC}" type="parTrans" cxnId="{EE485B2B-A40D-40A7-AD92-E2EA5E4F1743}">
      <dgm:prSet/>
      <dgm:spPr/>
      <dgm:t>
        <a:bodyPr/>
        <a:lstStyle/>
        <a:p>
          <a:endParaRPr lang="en-US"/>
        </a:p>
      </dgm:t>
    </dgm:pt>
    <dgm:pt modelId="{D122DD9A-35D4-4CEF-91F4-00734711E5EE}" type="sibTrans" cxnId="{EE485B2B-A40D-40A7-AD92-E2EA5E4F1743}">
      <dgm:prSet/>
      <dgm:spPr/>
      <dgm:t>
        <a:bodyPr/>
        <a:lstStyle/>
        <a:p>
          <a:endParaRPr lang="en-US"/>
        </a:p>
      </dgm:t>
    </dgm:pt>
    <dgm:pt modelId="{EDC66B11-7884-435C-9BCD-F71825B3BFB3}">
      <dgm:prSet custT="1"/>
      <dgm:spPr/>
      <dgm:t>
        <a:bodyPr/>
        <a:lstStyle/>
        <a:p>
          <a:r>
            <a:rPr lang="en-US" sz="2400" baseline="0" dirty="0"/>
            <a:t>Max</a:t>
          </a:r>
          <a:endParaRPr lang="en-US" sz="2400" dirty="0"/>
        </a:p>
      </dgm:t>
    </dgm:pt>
    <dgm:pt modelId="{D6576EF1-4924-4BFC-8687-2570C7C1E078}" type="parTrans" cxnId="{72D73D71-AC6D-4DAE-B7FF-0B6FD23E36C0}">
      <dgm:prSet/>
      <dgm:spPr/>
      <dgm:t>
        <a:bodyPr/>
        <a:lstStyle/>
        <a:p>
          <a:endParaRPr lang="en-US"/>
        </a:p>
      </dgm:t>
    </dgm:pt>
    <dgm:pt modelId="{35368F70-B511-476C-8ED9-F18D5B08C6B9}" type="sibTrans" cxnId="{72D73D71-AC6D-4DAE-B7FF-0B6FD23E36C0}">
      <dgm:prSet/>
      <dgm:spPr/>
      <dgm:t>
        <a:bodyPr/>
        <a:lstStyle/>
        <a:p>
          <a:endParaRPr lang="en-US"/>
        </a:p>
      </dgm:t>
    </dgm:pt>
    <dgm:pt modelId="{537084F6-BBA0-4C15-8D50-9DD4CCB58849}">
      <dgm:prSet custT="1"/>
      <dgm:spPr/>
      <dgm:t>
        <a:bodyPr/>
        <a:lstStyle/>
        <a:p>
          <a:r>
            <a:rPr lang="en-US" sz="2400" baseline="0" dirty="0"/>
            <a:t>Min</a:t>
          </a:r>
          <a:endParaRPr lang="en-US" sz="2400" dirty="0"/>
        </a:p>
      </dgm:t>
    </dgm:pt>
    <dgm:pt modelId="{7F28854B-F647-4DA3-9091-1D4C748318FF}" type="parTrans" cxnId="{AE35DE90-A37F-4874-B342-3B559B6D1B02}">
      <dgm:prSet/>
      <dgm:spPr/>
      <dgm:t>
        <a:bodyPr/>
        <a:lstStyle/>
        <a:p>
          <a:endParaRPr lang="en-US"/>
        </a:p>
      </dgm:t>
    </dgm:pt>
    <dgm:pt modelId="{D4318215-1C82-46AB-A029-A5F6ED26B794}" type="sibTrans" cxnId="{AE35DE90-A37F-4874-B342-3B559B6D1B02}">
      <dgm:prSet/>
      <dgm:spPr/>
      <dgm:t>
        <a:bodyPr/>
        <a:lstStyle/>
        <a:p>
          <a:endParaRPr lang="en-US"/>
        </a:p>
      </dgm:t>
    </dgm:pt>
    <dgm:pt modelId="{0AB4B53A-5223-4FFC-82C3-2EACFB83BDEF}" type="pres">
      <dgm:prSet presAssocID="{72AB5958-98AE-40E1-A2BC-F86615DC227C}" presName="Name0" presStyleCnt="0">
        <dgm:presLayoutVars>
          <dgm:dir/>
          <dgm:animLvl val="lvl"/>
          <dgm:resizeHandles val="exact"/>
        </dgm:presLayoutVars>
      </dgm:prSet>
      <dgm:spPr/>
    </dgm:pt>
    <dgm:pt modelId="{EAACA03B-D71F-4A46-810F-D19F82A2238D}" type="pres">
      <dgm:prSet presAssocID="{DCD1F75D-2D97-44B6-A92E-EC894FC36B47}" presName="linNode" presStyleCnt="0"/>
      <dgm:spPr/>
    </dgm:pt>
    <dgm:pt modelId="{086FF4FD-422F-4991-98D0-CD9E311A2A35}" type="pres">
      <dgm:prSet presAssocID="{DCD1F75D-2D97-44B6-A92E-EC894FC36B47}" presName="parentText" presStyleLbl="node1" presStyleIdx="0" presStyleCnt="1">
        <dgm:presLayoutVars>
          <dgm:chMax val="1"/>
          <dgm:bulletEnabled val="1"/>
        </dgm:presLayoutVars>
      </dgm:prSet>
      <dgm:spPr/>
    </dgm:pt>
    <dgm:pt modelId="{88358F0B-3705-4BDE-875B-8462A329C789}" type="pres">
      <dgm:prSet presAssocID="{DCD1F75D-2D97-44B6-A92E-EC894FC36B47}" presName="descendantText" presStyleLbl="alignAccFollowNode1" presStyleIdx="0" presStyleCnt="1">
        <dgm:presLayoutVars>
          <dgm:bulletEnabled val="1"/>
        </dgm:presLayoutVars>
      </dgm:prSet>
      <dgm:spPr/>
    </dgm:pt>
  </dgm:ptLst>
  <dgm:cxnLst>
    <dgm:cxn modelId="{EF7E2504-179A-4BDE-8C66-FE40221E0C4A}" type="presOf" srcId="{DCD1F75D-2D97-44B6-A92E-EC894FC36B47}" destId="{086FF4FD-422F-4991-98D0-CD9E311A2A35}" srcOrd="0" destOrd="0" presId="urn:microsoft.com/office/officeart/2005/8/layout/vList5"/>
    <dgm:cxn modelId="{A45EBB10-FCE5-433A-83DF-1FCE4B96C5F6}" srcId="{DCD1F75D-2D97-44B6-A92E-EC894FC36B47}" destId="{A9C32C13-B177-4B93-A47D-30D57A824AF9}" srcOrd="0" destOrd="0" parTransId="{703F067C-741F-4258-B8BA-89D921E963CE}" sibTransId="{E7A0F065-0970-49E3-9192-65570AF32302}"/>
    <dgm:cxn modelId="{1DFA3628-3410-48AE-B712-78A93C680D4D}" srcId="{72AB5958-98AE-40E1-A2BC-F86615DC227C}" destId="{DCD1F75D-2D97-44B6-A92E-EC894FC36B47}" srcOrd="0" destOrd="0" parTransId="{9FE8E6AC-5701-4D6B-A913-DEDE92F7D941}" sibTransId="{DD27E47A-3149-4600-960F-15C0F9BAEE9F}"/>
    <dgm:cxn modelId="{EE485B2B-A40D-40A7-AD92-E2EA5E4F1743}" srcId="{DCD1F75D-2D97-44B6-A92E-EC894FC36B47}" destId="{CF11DFE6-E9E5-4BA4-9CFC-99A24BE8D98C}" srcOrd="1" destOrd="0" parTransId="{E8B47A28-7198-4C3C-83F2-C3B7BB4737FC}" sibTransId="{D122DD9A-35D4-4CEF-91F4-00734711E5EE}"/>
    <dgm:cxn modelId="{BDC71E30-2B1B-4698-B5C3-9C2E2224AE11}" type="presOf" srcId="{A9C32C13-B177-4B93-A47D-30D57A824AF9}" destId="{88358F0B-3705-4BDE-875B-8462A329C789}" srcOrd="0" destOrd="0" presId="urn:microsoft.com/office/officeart/2005/8/layout/vList5"/>
    <dgm:cxn modelId="{72D73D71-AC6D-4DAE-B7FF-0B6FD23E36C0}" srcId="{DCD1F75D-2D97-44B6-A92E-EC894FC36B47}" destId="{EDC66B11-7884-435C-9BCD-F71825B3BFB3}" srcOrd="3" destOrd="0" parTransId="{D6576EF1-4924-4BFC-8687-2570C7C1E078}" sibTransId="{35368F70-B511-476C-8ED9-F18D5B08C6B9}"/>
    <dgm:cxn modelId="{E05BD871-CE8D-4E3F-BE0E-BC09BFF73EA4}" type="presOf" srcId="{CF11DFE6-E9E5-4BA4-9CFC-99A24BE8D98C}" destId="{88358F0B-3705-4BDE-875B-8462A329C789}" srcOrd="0" destOrd="1" presId="urn:microsoft.com/office/officeart/2005/8/layout/vList5"/>
    <dgm:cxn modelId="{AE35DE90-A37F-4874-B342-3B559B6D1B02}" srcId="{DCD1F75D-2D97-44B6-A92E-EC894FC36B47}" destId="{537084F6-BBA0-4C15-8D50-9DD4CCB58849}" srcOrd="2" destOrd="0" parTransId="{7F28854B-F647-4DA3-9091-1D4C748318FF}" sibTransId="{D4318215-1C82-46AB-A029-A5F6ED26B794}"/>
    <dgm:cxn modelId="{5109A4C7-CA9D-43D4-9EB8-5B1C65798514}" type="presOf" srcId="{537084F6-BBA0-4C15-8D50-9DD4CCB58849}" destId="{88358F0B-3705-4BDE-875B-8462A329C789}" srcOrd="0" destOrd="2" presId="urn:microsoft.com/office/officeart/2005/8/layout/vList5"/>
    <dgm:cxn modelId="{412401D1-3D3D-45DA-8C48-C25322DBC6D5}" type="presOf" srcId="{EDC66B11-7884-435C-9BCD-F71825B3BFB3}" destId="{88358F0B-3705-4BDE-875B-8462A329C789}" srcOrd="0" destOrd="3" presId="urn:microsoft.com/office/officeart/2005/8/layout/vList5"/>
    <dgm:cxn modelId="{47870AD6-2B37-4301-9A8A-03B62BEF4C7E}" type="presOf" srcId="{72AB5958-98AE-40E1-A2BC-F86615DC227C}" destId="{0AB4B53A-5223-4FFC-82C3-2EACFB83BDEF}" srcOrd="0" destOrd="0" presId="urn:microsoft.com/office/officeart/2005/8/layout/vList5"/>
    <dgm:cxn modelId="{C6920A2C-2F05-43FF-B0E2-36AC5838AC69}" type="presParOf" srcId="{0AB4B53A-5223-4FFC-82C3-2EACFB83BDEF}" destId="{EAACA03B-D71F-4A46-810F-D19F82A2238D}" srcOrd="0" destOrd="0" presId="urn:microsoft.com/office/officeart/2005/8/layout/vList5"/>
    <dgm:cxn modelId="{A24CA5CF-AC97-4C5C-8743-D47C88C01CC3}" type="presParOf" srcId="{EAACA03B-D71F-4A46-810F-D19F82A2238D}" destId="{086FF4FD-422F-4991-98D0-CD9E311A2A35}" srcOrd="0" destOrd="0" presId="urn:microsoft.com/office/officeart/2005/8/layout/vList5"/>
    <dgm:cxn modelId="{F65F9E36-A0C8-4A0B-8DE1-CF9E81585190}" type="presParOf" srcId="{EAACA03B-D71F-4A46-810F-D19F82A2238D}" destId="{88358F0B-3705-4BDE-875B-8462A329C789}"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FF96150-C5E8-449B-87BB-273201584C47}"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353FF87D-4B28-4961-95AB-E35B9D6448F6}">
      <dgm:prSet custT="1"/>
      <dgm:spPr/>
      <dgm:t>
        <a:bodyPr/>
        <a:lstStyle/>
        <a:p>
          <a:r>
            <a:rPr lang="en-US" sz="2400" baseline="0" dirty="0"/>
            <a:t>Heavy </a:t>
          </a:r>
          <a:r>
            <a:rPr lang="en-US" sz="2400" i="1" baseline="0" dirty="0"/>
            <a:t>ad hoc </a:t>
          </a:r>
          <a:r>
            <a:rPr lang="en-US" sz="2400" baseline="0" dirty="0"/>
            <a:t>workloads can bloat the plan cache</a:t>
          </a:r>
          <a:endParaRPr lang="en-US" sz="2400" dirty="0"/>
        </a:p>
      </dgm:t>
    </dgm:pt>
    <dgm:pt modelId="{8E0586E1-7A55-4B6C-9A06-4B8EC3032CEF}" type="parTrans" cxnId="{4E695FD1-FED4-447D-AE3D-6E8259960A21}">
      <dgm:prSet/>
      <dgm:spPr/>
      <dgm:t>
        <a:bodyPr/>
        <a:lstStyle/>
        <a:p>
          <a:endParaRPr lang="en-US"/>
        </a:p>
      </dgm:t>
    </dgm:pt>
    <dgm:pt modelId="{D292DD20-D544-467E-AD79-C7DC7C3B9A0A}" type="sibTrans" cxnId="{4E695FD1-FED4-447D-AE3D-6E8259960A21}">
      <dgm:prSet/>
      <dgm:spPr/>
      <dgm:t>
        <a:bodyPr/>
        <a:lstStyle/>
        <a:p>
          <a:endParaRPr lang="en-US"/>
        </a:p>
      </dgm:t>
    </dgm:pt>
    <dgm:pt modelId="{A539C337-15A1-4340-83D8-8E61ADBA7528}">
      <dgm:prSet custT="1"/>
      <dgm:spPr/>
      <dgm:t>
        <a:bodyPr/>
        <a:lstStyle/>
        <a:p>
          <a:r>
            <a:rPr lang="en-US" sz="2400" baseline="0" dirty="0"/>
            <a:t>Enable “optimize for ad hoc workload” to keep single-use plans out of the cache</a:t>
          </a:r>
          <a:endParaRPr lang="en-US" sz="2400" dirty="0"/>
        </a:p>
      </dgm:t>
    </dgm:pt>
    <dgm:pt modelId="{BC0BCFD4-538C-4B94-8F06-0485DDCC46E0}" type="parTrans" cxnId="{33E4BE41-5CA7-4B7D-9FBF-63B0D4C25CE6}">
      <dgm:prSet/>
      <dgm:spPr/>
      <dgm:t>
        <a:bodyPr/>
        <a:lstStyle/>
        <a:p>
          <a:endParaRPr lang="en-US"/>
        </a:p>
      </dgm:t>
    </dgm:pt>
    <dgm:pt modelId="{95179D76-120E-4272-9206-772EE5F6E749}" type="sibTrans" cxnId="{33E4BE41-5CA7-4B7D-9FBF-63B0D4C25CE6}">
      <dgm:prSet/>
      <dgm:spPr/>
      <dgm:t>
        <a:bodyPr/>
        <a:lstStyle/>
        <a:p>
          <a:endParaRPr lang="en-US"/>
        </a:p>
      </dgm:t>
    </dgm:pt>
    <dgm:pt modelId="{348BA692-EDCF-43EC-96A1-1836852B0C68}">
      <dgm:prSet custT="1"/>
      <dgm:spPr/>
      <dgm:t>
        <a:bodyPr/>
        <a:lstStyle/>
        <a:p>
          <a:r>
            <a:rPr lang="en-US" sz="2400" baseline="0" dirty="0"/>
            <a:t>No benefit to caching single-use, ad hoc plans</a:t>
          </a:r>
          <a:endParaRPr lang="en-US" sz="2400" dirty="0"/>
        </a:p>
      </dgm:t>
    </dgm:pt>
    <dgm:pt modelId="{FBA53D4C-2DE7-414E-8E66-DCC54D9384B7}" type="parTrans" cxnId="{332E90F8-C638-420A-8C23-7DCA15EF0DE1}">
      <dgm:prSet/>
      <dgm:spPr/>
      <dgm:t>
        <a:bodyPr/>
        <a:lstStyle/>
        <a:p>
          <a:endParaRPr lang="en-US"/>
        </a:p>
      </dgm:t>
    </dgm:pt>
    <dgm:pt modelId="{EA16906E-33DF-4CFB-BF6A-4F3D7D8E64B0}" type="sibTrans" cxnId="{332E90F8-C638-420A-8C23-7DCA15EF0DE1}">
      <dgm:prSet/>
      <dgm:spPr/>
      <dgm:t>
        <a:bodyPr/>
        <a:lstStyle/>
        <a:p>
          <a:endParaRPr lang="en-US"/>
        </a:p>
      </dgm:t>
    </dgm:pt>
    <dgm:pt modelId="{87FC66B4-C95D-414F-8447-8FC5D40294BB}" type="pres">
      <dgm:prSet presAssocID="{7FF96150-C5E8-449B-87BB-273201584C47}" presName="diagram" presStyleCnt="0">
        <dgm:presLayoutVars>
          <dgm:dir/>
          <dgm:resizeHandles val="exact"/>
        </dgm:presLayoutVars>
      </dgm:prSet>
      <dgm:spPr/>
    </dgm:pt>
    <dgm:pt modelId="{442B8F45-C21C-453B-84D9-C5CD6AD7B4FC}" type="pres">
      <dgm:prSet presAssocID="{353FF87D-4B28-4961-95AB-E35B9D6448F6}" presName="node" presStyleLbl="node1" presStyleIdx="0" presStyleCnt="3">
        <dgm:presLayoutVars>
          <dgm:bulletEnabled val="1"/>
        </dgm:presLayoutVars>
      </dgm:prSet>
      <dgm:spPr/>
    </dgm:pt>
    <dgm:pt modelId="{E255B85D-85C2-45D6-A1E8-CBBECB875897}" type="pres">
      <dgm:prSet presAssocID="{D292DD20-D544-467E-AD79-C7DC7C3B9A0A}" presName="sibTrans" presStyleCnt="0"/>
      <dgm:spPr/>
    </dgm:pt>
    <dgm:pt modelId="{7A872729-72F1-46CB-B009-3FB6861B61FC}" type="pres">
      <dgm:prSet presAssocID="{348BA692-EDCF-43EC-96A1-1836852B0C68}" presName="node" presStyleLbl="node1" presStyleIdx="1" presStyleCnt="3">
        <dgm:presLayoutVars>
          <dgm:bulletEnabled val="1"/>
        </dgm:presLayoutVars>
      </dgm:prSet>
      <dgm:spPr/>
    </dgm:pt>
    <dgm:pt modelId="{4722F49A-1221-4399-9B00-A1D59AA5DFFF}" type="pres">
      <dgm:prSet presAssocID="{EA16906E-33DF-4CFB-BF6A-4F3D7D8E64B0}" presName="sibTrans" presStyleCnt="0"/>
      <dgm:spPr/>
    </dgm:pt>
    <dgm:pt modelId="{41967A24-5AD9-4D95-94BC-C765092BFE0F}" type="pres">
      <dgm:prSet presAssocID="{A539C337-15A1-4340-83D8-8E61ADBA7528}" presName="node" presStyleLbl="node1" presStyleIdx="2" presStyleCnt="3">
        <dgm:presLayoutVars>
          <dgm:bulletEnabled val="1"/>
        </dgm:presLayoutVars>
      </dgm:prSet>
      <dgm:spPr/>
    </dgm:pt>
  </dgm:ptLst>
  <dgm:cxnLst>
    <dgm:cxn modelId="{33E4BE41-5CA7-4B7D-9FBF-63B0D4C25CE6}" srcId="{7FF96150-C5E8-449B-87BB-273201584C47}" destId="{A539C337-15A1-4340-83D8-8E61ADBA7528}" srcOrd="2" destOrd="0" parTransId="{BC0BCFD4-538C-4B94-8F06-0485DDCC46E0}" sibTransId="{95179D76-120E-4272-9206-772EE5F6E749}"/>
    <dgm:cxn modelId="{B864CF4A-EC56-4CDD-953A-2A4C2B51CDEA}" type="presOf" srcId="{7FF96150-C5E8-449B-87BB-273201584C47}" destId="{87FC66B4-C95D-414F-8447-8FC5D40294BB}" srcOrd="0" destOrd="0" presId="urn:microsoft.com/office/officeart/2005/8/layout/default"/>
    <dgm:cxn modelId="{194CBBB1-2373-4724-A038-852D9723F107}" type="presOf" srcId="{A539C337-15A1-4340-83D8-8E61ADBA7528}" destId="{41967A24-5AD9-4D95-94BC-C765092BFE0F}" srcOrd="0" destOrd="0" presId="urn:microsoft.com/office/officeart/2005/8/layout/default"/>
    <dgm:cxn modelId="{97043DB8-D48C-4FA1-9B2A-9E75486AE382}" type="presOf" srcId="{353FF87D-4B28-4961-95AB-E35B9D6448F6}" destId="{442B8F45-C21C-453B-84D9-C5CD6AD7B4FC}" srcOrd="0" destOrd="0" presId="urn:microsoft.com/office/officeart/2005/8/layout/default"/>
    <dgm:cxn modelId="{F8A259BE-6715-46EC-AF78-298C5879B1E5}" type="presOf" srcId="{348BA692-EDCF-43EC-96A1-1836852B0C68}" destId="{7A872729-72F1-46CB-B009-3FB6861B61FC}" srcOrd="0" destOrd="0" presId="urn:microsoft.com/office/officeart/2005/8/layout/default"/>
    <dgm:cxn modelId="{4E695FD1-FED4-447D-AE3D-6E8259960A21}" srcId="{7FF96150-C5E8-449B-87BB-273201584C47}" destId="{353FF87D-4B28-4961-95AB-E35B9D6448F6}" srcOrd="0" destOrd="0" parTransId="{8E0586E1-7A55-4B6C-9A06-4B8EC3032CEF}" sibTransId="{D292DD20-D544-467E-AD79-C7DC7C3B9A0A}"/>
    <dgm:cxn modelId="{332E90F8-C638-420A-8C23-7DCA15EF0DE1}" srcId="{7FF96150-C5E8-449B-87BB-273201584C47}" destId="{348BA692-EDCF-43EC-96A1-1836852B0C68}" srcOrd="1" destOrd="0" parTransId="{FBA53D4C-2DE7-414E-8E66-DCC54D9384B7}" sibTransId="{EA16906E-33DF-4CFB-BF6A-4F3D7D8E64B0}"/>
    <dgm:cxn modelId="{DDA3FFF9-59BC-4706-AD7D-6AF912DBE426}" type="presParOf" srcId="{87FC66B4-C95D-414F-8447-8FC5D40294BB}" destId="{442B8F45-C21C-453B-84D9-C5CD6AD7B4FC}" srcOrd="0" destOrd="0" presId="urn:microsoft.com/office/officeart/2005/8/layout/default"/>
    <dgm:cxn modelId="{5D5518DB-C77F-437E-B786-18EF5FFAF484}" type="presParOf" srcId="{87FC66B4-C95D-414F-8447-8FC5D40294BB}" destId="{E255B85D-85C2-45D6-A1E8-CBBECB875897}" srcOrd="1" destOrd="0" presId="urn:microsoft.com/office/officeart/2005/8/layout/default"/>
    <dgm:cxn modelId="{893E7894-99D9-4FD6-9B89-C1759E490668}" type="presParOf" srcId="{87FC66B4-C95D-414F-8447-8FC5D40294BB}" destId="{7A872729-72F1-46CB-B009-3FB6861B61FC}" srcOrd="2" destOrd="0" presId="urn:microsoft.com/office/officeart/2005/8/layout/default"/>
    <dgm:cxn modelId="{89D359E4-CCA2-48CA-A0F0-53B9397E8BC4}" type="presParOf" srcId="{87FC66B4-C95D-414F-8447-8FC5D40294BB}" destId="{4722F49A-1221-4399-9B00-A1D59AA5DFFF}" srcOrd="3" destOrd="0" presId="urn:microsoft.com/office/officeart/2005/8/layout/default"/>
    <dgm:cxn modelId="{93602D75-AC2D-4A3D-B862-E8A55A33F057}" type="presParOf" srcId="{87FC66B4-C95D-414F-8447-8FC5D40294BB}" destId="{41967A24-5AD9-4D95-94BC-C765092BFE0F}"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5506FA8-43FA-41A4-B120-445D1165E525}"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966D9200-13DA-4E05-B9EF-C82788702EFF}">
      <dgm:prSet custT="1"/>
      <dgm:spPr/>
      <dgm:t>
        <a:bodyPr/>
        <a:lstStyle/>
        <a:p>
          <a:r>
            <a:rPr lang="en-US" sz="2400" baseline="0" dirty="0"/>
            <a:t>The entire plan cache – all databases</a:t>
          </a:r>
          <a:endParaRPr lang="en-US" sz="2400" dirty="0"/>
        </a:p>
      </dgm:t>
    </dgm:pt>
    <dgm:pt modelId="{D13000EB-5D30-4593-AAFF-DF68DFA1B12B}" type="parTrans" cxnId="{94487737-873E-4078-B093-B839A4F9D4FC}">
      <dgm:prSet/>
      <dgm:spPr/>
      <dgm:t>
        <a:bodyPr/>
        <a:lstStyle/>
        <a:p>
          <a:endParaRPr lang="en-US"/>
        </a:p>
      </dgm:t>
    </dgm:pt>
    <dgm:pt modelId="{5B7B0E4A-2BD6-437E-879A-F755A624845F}" type="sibTrans" cxnId="{94487737-873E-4078-B093-B839A4F9D4FC}">
      <dgm:prSet/>
      <dgm:spPr/>
      <dgm:t>
        <a:bodyPr/>
        <a:lstStyle/>
        <a:p>
          <a:endParaRPr lang="en-US"/>
        </a:p>
      </dgm:t>
    </dgm:pt>
    <dgm:pt modelId="{1E618B3C-7304-4ABC-AAB6-2A3FCBBDC914}">
      <dgm:prSet/>
      <dgm:spPr/>
      <dgm:t>
        <a:bodyPr/>
        <a:lstStyle/>
        <a:p>
          <a:r>
            <a:rPr lang="en-US" baseline="0" dirty="0"/>
            <a:t>DBCC FREEPROCCACHE;</a:t>
          </a:r>
          <a:endParaRPr lang="en-US" dirty="0"/>
        </a:p>
      </dgm:t>
    </dgm:pt>
    <dgm:pt modelId="{4470972B-CB05-4B3D-9ABB-065A9127B5CA}" type="parTrans" cxnId="{ACF074E5-5F85-4DAE-BF04-48CF182EB0EF}">
      <dgm:prSet/>
      <dgm:spPr/>
      <dgm:t>
        <a:bodyPr/>
        <a:lstStyle/>
        <a:p>
          <a:endParaRPr lang="en-US"/>
        </a:p>
      </dgm:t>
    </dgm:pt>
    <dgm:pt modelId="{21A7CCB4-74F4-45D8-9A09-747B4646D141}" type="sibTrans" cxnId="{ACF074E5-5F85-4DAE-BF04-48CF182EB0EF}">
      <dgm:prSet/>
      <dgm:spPr/>
      <dgm:t>
        <a:bodyPr/>
        <a:lstStyle/>
        <a:p>
          <a:endParaRPr lang="en-US"/>
        </a:p>
      </dgm:t>
    </dgm:pt>
    <dgm:pt modelId="{CDFA738A-6FEA-4B4E-8913-004FD4362EE5}">
      <dgm:prSet custT="1"/>
      <dgm:spPr/>
      <dgm:t>
        <a:bodyPr/>
        <a:lstStyle/>
        <a:p>
          <a:r>
            <a:rPr lang="en-US" sz="2400" baseline="0" dirty="0"/>
            <a:t>All plans of a specific type</a:t>
          </a:r>
          <a:endParaRPr lang="en-US" sz="2400" dirty="0"/>
        </a:p>
      </dgm:t>
    </dgm:pt>
    <dgm:pt modelId="{F195A1A4-E680-4E3A-8C45-CE41137101E8}" type="parTrans" cxnId="{D49A57EA-2650-4CC2-BF3F-9529EACF4E92}">
      <dgm:prSet/>
      <dgm:spPr/>
      <dgm:t>
        <a:bodyPr/>
        <a:lstStyle/>
        <a:p>
          <a:endParaRPr lang="en-US"/>
        </a:p>
      </dgm:t>
    </dgm:pt>
    <dgm:pt modelId="{2AE16750-71DC-49D3-95EA-E35F6DDEEF0C}" type="sibTrans" cxnId="{D49A57EA-2650-4CC2-BF3F-9529EACF4E92}">
      <dgm:prSet/>
      <dgm:spPr/>
      <dgm:t>
        <a:bodyPr/>
        <a:lstStyle/>
        <a:p>
          <a:endParaRPr lang="en-US"/>
        </a:p>
      </dgm:t>
    </dgm:pt>
    <dgm:pt modelId="{20A983B5-73F5-46EB-8C4A-3E7B44BC0F5C}">
      <dgm:prSet/>
      <dgm:spPr/>
      <dgm:t>
        <a:bodyPr/>
        <a:lstStyle/>
        <a:p>
          <a:r>
            <a:rPr lang="en-US" baseline="0" dirty="0"/>
            <a:t>DBCC FREESYSTEMCACHE ('SQL Plans'); </a:t>
          </a:r>
          <a:endParaRPr lang="en-US" dirty="0"/>
        </a:p>
      </dgm:t>
    </dgm:pt>
    <dgm:pt modelId="{D3255CB8-A65F-49AB-BA9F-19DCB67753AA}" type="parTrans" cxnId="{013E697E-1DEB-4583-BB53-F6500738D807}">
      <dgm:prSet/>
      <dgm:spPr/>
      <dgm:t>
        <a:bodyPr/>
        <a:lstStyle/>
        <a:p>
          <a:endParaRPr lang="en-US"/>
        </a:p>
      </dgm:t>
    </dgm:pt>
    <dgm:pt modelId="{23E13F10-FDDE-480D-9007-1013392573B1}" type="sibTrans" cxnId="{013E697E-1DEB-4583-BB53-F6500738D807}">
      <dgm:prSet/>
      <dgm:spPr/>
      <dgm:t>
        <a:bodyPr/>
        <a:lstStyle/>
        <a:p>
          <a:endParaRPr lang="en-US"/>
        </a:p>
      </dgm:t>
    </dgm:pt>
    <dgm:pt modelId="{719DAFF0-6CBC-478F-AF4B-E6319281219A}">
      <dgm:prSet custT="1"/>
      <dgm:spPr/>
      <dgm:t>
        <a:bodyPr/>
        <a:lstStyle/>
        <a:p>
          <a:r>
            <a:rPr lang="en-US" sz="2400" baseline="0" dirty="0"/>
            <a:t>All plans for a single database</a:t>
          </a:r>
          <a:endParaRPr lang="en-US" sz="2400" dirty="0"/>
        </a:p>
      </dgm:t>
    </dgm:pt>
    <dgm:pt modelId="{DA03650A-AC86-4DB8-9746-328E07754C40}" type="parTrans" cxnId="{55D1F938-34ED-4897-AE10-3BF3F8720DC2}">
      <dgm:prSet/>
      <dgm:spPr/>
      <dgm:t>
        <a:bodyPr/>
        <a:lstStyle/>
        <a:p>
          <a:endParaRPr lang="en-US"/>
        </a:p>
      </dgm:t>
    </dgm:pt>
    <dgm:pt modelId="{BF36C175-D858-42DB-95F1-398B2D867E48}" type="sibTrans" cxnId="{55D1F938-34ED-4897-AE10-3BF3F8720DC2}">
      <dgm:prSet/>
      <dgm:spPr/>
      <dgm:t>
        <a:bodyPr/>
        <a:lstStyle/>
        <a:p>
          <a:endParaRPr lang="en-US"/>
        </a:p>
      </dgm:t>
    </dgm:pt>
    <dgm:pt modelId="{EA9B47D4-4BDE-42A7-A8D4-30AF3BDBF931}">
      <dgm:prSet/>
      <dgm:spPr/>
      <dgm:t>
        <a:bodyPr/>
        <a:lstStyle/>
        <a:p>
          <a:r>
            <a:rPr lang="en-US" baseline="0" dirty="0"/>
            <a:t>ALTER DATABASE SCOPED CONFIGURATION CLEAR PROCEDURE_CACHE;</a:t>
          </a:r>
          <a:endParaRPr lang="en-US" dirty="0"/>
        </a:p>
      </dgm:t>
    </dgm:pt>
    <dgm:pt modelId="{F619A678-ADF6-46E2-9CB6-916C347B4B3E}" type="parTrans" cxnId="{236FD5A6-521A-42F9-9522-1933814D73EE}">
      <dgm:prSet/>
      <dgm:spPr/>
      <dgm:t>
        <a:bodyPr/>
        <a:lstStyle/>
        <a:p>
          <a:endParaRPr lang="en-US"/>
        </a:p>
      </dgm:t>
    </dgm:pt>
    <dgm:pt modelId="{FB80279C-267F-456C-A072-2B645F00F259}" type="sibTrans" cxnId="{236FD5A6-521A-42F9-9522-1933814D73EE}">
      <dgm:prSet/>
      <dgm:spPr/>
      <dgm:t>
        <a:bodyPr/>
        <a:lstStyle/>
        <a:p>
          <a:endParaRPr lang="en-US"/>
        </a:p>
      </dgm:t>
    </dgm:pt>
    <dgm:pt modelId="{9C80101D-4EF4-4479-B096-DF6BD5B17681}">
      <dgm:prSet custT="1"/>
      <dgm:spPr/>
      <dgm:t>
        <a:bodyPr/>
        <a:lstStyle/>
        <a:p>
          <a:r>
            <a:rPr lang="en-US" sz="2400" baseline="0" dirty="0"/>
            <a:t>A specific plan</a:t>
          </a:r>
          <a:endParaRPr lang="en-US" sz="2400" dirty="0"/>
        </a:p>
      </dgm:t>
    </dgm:pt>
    <dgm:pt modelId="{2AACF793-41E5-4ED9-AD4D-877E433AAD4B}" type="parTrans" cxnId="{28A008B5-9003-4957-84D5-A59D3E409BB8}">
      <dgm:prSet/>
      <dgm:spPr/>
      <dgm:t>
        <a:bodyPr/>
        <a:lstStyle/>
        <a:p>
          <a:endParaRPr lang="en-US"/>
        </a:p>
      </dgm:t>
    </dgm:pt>
    <dgm:pt modelId="{098B02FC-82C6-4CFF-83F3-1FC45DB7A51E}" type="sibTrans" cxnId="{28A008B5-9003-4957-84D5-A59D3E409BB8}">
      <dgm:prSet/>
      <dgm:spPr/>
      <dgm:t>
        <a:bodyPr/>
        <a:lstStyle/>
        <a:p>
          <a:endParaRPr lang="en-US"/>
        </a:p>
      </dgm:t>
    </dgm:pt>
    <dgm:pt modelId="{EE40CF5E-CBCD-469A-A4E4-B4D6523A4B5D}">
      <dgm:prSet/>
      <dgm:spPr/>
      <dgm:t>
        <a:bodyPr/>
        <a:lstStyle/>
        <a:p>
          <a:r>
            <a:rPr lang="en-US" baseline="0" dirty="0"/>
            <a:t>ALTER DATABASE SCOPED CONFIGURATION CLEAR PROCEDURE_CACHE(&lt;plan_handle&gt;);</a:t>
          </a:r>
          <a:endParaRPr lang="en-US" dirty="0"/>
        </a:p>
      </dgm:t>
    </dgm:pt>
    <dgm:pt modelId="{48997665-4963-439B-99EB-15FA3B0DC831}" type="parTrans" cxnId="{12F36A78-3C01-4764-9984-A4A72DF7459A}">
      <dgm:prSet/>
      <dgm:spPr/>
      <dgm:t>
        <a:bodyPr/>
        <a:lstStyle/>
        <a:p>
          <a:endParaRPr lang="en-US"/>
        </a:p>
      </dgm:t>
    </dgm:pt>
    <dgm:pt modelId="{8C60611C-40D8-4E3B-A981-DC0D20E26266}" type="sibTrans" cxnId="{12F36A78-3C01-4764-9984-A4A72DF7459A}">
      <dgm:prSet/>
      <dgm:spPr/>
      <dgm:t>
        <a:bodyPr/>
        <a:lstStyle/>
        <a:p>
          <a:endParaRPr lang="en-US"/>
        </a:p>
      </dgm:t>
    </dgm:pt>
    <dgm:pt modelId="{C29E30CC-1E99-4882-A7D9-FFE542ECA33F}" type="pres">
      <dgm:prSet presAssocID="{65506FA8-43FA-41A4-B120-445D1165E525}" presName="Name0" presStyleCnt="0">
        <dgm:presLayoutVars>
          <dgm:dir/>
          <dgm:animLvl val="lvl"/>
          <dgm:resizeHandles val="exact"/>
        </dgm:presLayoutVars>
      </dgm:prSet>
      <dgm:spPr/>
    </dgm:pt>
    <dgm:pt modelId="{8553CC35-C50C-488B-9EEC-E91CEAC15803}" type="pres">
      <dgm:prSet presAssocID="{966D9200-13DA-4E05-B9EF-C82788702EFF}" presName="linNode" presStyleCnt="0"/>
      <dgm:spPr/>
    </dgm:pt>
    <dgm:pt modelId="{57FC79EA-B573-4303-A113-614FA5F58C07}" type="pres">
      <dgm:prSet presAssocID="{966D9200-13DA-4E05-B9EF-C82788702EFF}" presName="parentText" presStyleLbl="node1" presStyleIdx="0" presStyleCnt="4">
        <dgm:presLayoutVars>
          <dgm:chMax val="1"/>
          <dgm:bulletEnabled val="1"/>
        </dgm:presLayoutVars>
      </dgm:prSet>
      <dgm:spPr/>
    </dgm:pt>
    <dgm:pt modelId="{D54522A8-711A-4630-958A-12DF3648621E}" type="pres">
      <dgm:prSet presAssocID="{966D9200-13DA-4E05-B9EF-C82788702EFF}" presName="descendantText" presStyleLbl="alignAccFollowNode1" presStyleIdx="0" presStyleCnt="4">
        <dgm:presLayoutVars>
          <dgm:bulletEnabled val="1"/>
        </dgm:presLayoutVars>
      </dgm:prSet>
      <dgm:spPr/>
    </dgm:pt>
    <dgm:pt modelId="{575284E9-588A-4D5D-89F9-6DB5F2C1FFA6}" type="pres">
      <dgm:prSet presAssocID="{5B7B0E4A-2BD6-437E-879A-F755A624845F}" presName="sp" presStyleCnt="0"/>
      <dgm:spPr/>
    </dgm:pt>
    <dgm:pt modelId="{CD80D1D9-CD42-4747-A98A-E1E9EEE508EB}" type="pres">
      <dgm:prSet presAssocID="{CDFA738A-6FEA-4B4E-8913-004FD4362EE5}" presName="linNode" presStyleCnt="0"/>
      <dgm:spPr/>
    </dgm:pt>
    <dgm:pt modelId="{F0F2ABF0-2098-442A-BBA1-9185E50D46E2}" type="pres">
      <dgm:prSet presAssocID="{CDFA738A-6FEA-4B4E-8913-004FD4362EE5}" presName="parentText" presStyleLbl="node1" presStyleIdx="1" presStyleCnt="4">
        <dgm:presLayoutVars>
          <dgm:chMax val="1"/>
          <dgm:bulletEnabled val="1"/>
        </dgm:presLayoutVars>
      </dgm:prSet>
      <dgm:spPr/>
    </dgm:pt>
    <dgm:pt modelId="{13482CE1-0B98-4FC6-BA7C-55C81132E1EF}" type="pres">
      <dgm:prSet presAssocID="{CDFA738A-6FEA-4B4E-8913-004FD4362EE5}" presName="descendantText" presStyleLbl="alignAccFollowNode1" presStyleIdx="1" presStyleCnt="4">
        <dgm:presLayoutVars>
          <dgm:bulletEnabled val="1"/>
        </dgm:presLayoutVars>
      </dgm:prSet>
      <dgm:spPr/>
    </dgm:pt>
    <dgm:pt modelId="{4F5EADA2-C698-4DED-92BB-C070088C337D}" type="pres">
      <dgm:prSet presAssocID="{2AE16750-71DC-49D3-95EA-E35F6DDEEF0C}" presName="sp" presStyleCnt="0"/>
      <dgm:spPr/>
    </dgm:pt>
    <dgm:pt modelId="{B0E65AFB-EC88-461D-9771-D0A0EFF6F6C0}" type="pres">
      <dgm:prSet presAssocID="{719DAFF0-6CBC-478F-AF4B-E6319281219A}" presName="linNode" presStyleCnt="0"/>
      <dgm:spPr/>
    </dgm:pt>
    <dgm:pt modelId="{529F1815-6374-487E-B7ED-773539F6D3FD}" type="pres">
      <dgm:prSet presAssocID="{719DAFF0-6CBC-478F-AF4B-E6319281219A}" presName="parentText" presStyleLbl="node1" presStyleIdx="2" presStyleCnt="4">
        <dgm:presLayoutVars>
          <dgm:chMax val="1"/>
          <dgm:bulletEnabled val="1"/>
        </dgm:presLayoutVars>
      </dgm:prSet>
      <dgm:spPr/>
    </dgm:pt>
    <dgm:pt modelId="{31D3B664-EDD7-4DAD-9904-2AE50D39AA99}" type="pres">
      <dgm:prSet presAssocID="{719DAFF0-6CBC-478F-AF4B-E6319281219A}" presName="descendantText" presStyleLbl="alignAccFollowNode1" presStyleIdx="2" presStyleCnt="4">
        <dgm:presLayoutVars>
          <dgm:bulletEnabled val="1"/>
        </dgm:presLayoutVars>
      </dgm:prSet>
      <dgm:spPr/>
    </dgm:pt>
    <dgm:pt modelId="{84CC0AA7-2771-4CD7-AD1D-C34B4E0BDFB3}" type="pres">
      <dgm:prSet presAssocID="{BF36C175-D858-42DB-95F1-398B2D867E48}" presName="sp" presStyleCnt="0"/>
      <dgm:spPr/>
    </dgm:pt>
    <dgm:pt modelId="{1DA47741-03EC-409B-A1A5-6A9B2FCB5B11}" type="pres">
      <dgm:prSet presAssocID="{9C80101D-4EF4-4479-B096-DF6BD5B17681}" presName="linNode" presStyleCnt="0"/>
      <dgm:spPr/>
    </dgm:pt>
    <dgm:pt modelId="{8676FA5C-FA27-4296-8442-63814231789C}" type="pres">
      <dgm:prSet presAssocID="{9C80101D-4EF4-4479-B096-DF6BD5B17681}" presName="parentText" presStyleLbl="node1" presStyleIdx="3" presStyleCnt="4">
        <dgm:presLayoutVars>
          <dgm:chMax val="1"/>
          <dgm:bulletEnabled val="1"/>
        </dgm:presLayoutVars>
      </dgm:prSet>
      <dgm:spPr/>
    </dgm:pt>
    <dgm:pt modelId="{6D0BF1A2-C3DB-4A96-AD54-D21D08BD4B29}" type="pres">
      <dgm:prSet presAssocID="{9C80101D-4EF4-4479-B096-DF6BD5B17681}" presName="descendantText" presStyleLbl="alignAccFollowNode1" presStyleIdx="3" presStyleCnt="4" custLinFactNeighborY="0">
        <dgm:presLayoutVars>
          <dgm:bulletEnabled val="1"/>
        </dgm:presLayoutVars>
      </dgm:prSet>
      <dgm:spPr/>
    </dgm:pt>
  </dgm:ptLst>
  <dgm:cxnLst>
    <dgm:cxn modelId="{69910216-9AC5-4350-8652-3C2D4AB08AAE}" type="presOf" srcId="{65506FA8-43FA-41A4-B120-445D1165E525}" destId="{C29E30CC-1E99-4882-A7D9-FFE542ECA33F}" srcOrd="0" destOrd="0" presId="urn:microsoft.com/office/officeart/2005/8/layout/vList5"/>
    <dgm:cxn modelId="{9FF95536-8D1E-4990-8B6E-0A2D639A9769}" type="presOf" srcId="{EA9B47D4-4BDE-42A7-A8D4-30AF3BDBF931}" destId="{31D3B664-EDD7-4DAD-9904-2AE50D39AA99}" srcOrd="0" destOrd="0" presId="urn:microsoft.com/office/officeart/2005/8/layout/vList5"/>
    <dgm:cxn modelId="{94487737-873E-4078-B093-B839A4F9D4FC}" srcId="{65506FA8-43FA-41A4-B120-445D1165E525}" destId="{966D9200-13DA-4E05-B9EF-C82788702EFF}" srcOrd="0" destOrd="0" parTransId="{D13000EB-5D30-4593-AAFF-DF68DFA1B12B}" sibTransId="{5B7B0E4A-2BD6-437E-879A-F755A624845F}"/>
    <dgm:cxn modelId="{55D1F938-34ED-4897-AE10-3BF3F8720DC2}" srcId="{65506FA8-43FA-41A4-B120-445D1165E525}" destId="{719DAFF0-6CBC-478F-AF4B-E6319281219A}" srcOrd="2" destOrd="0" parTransId="{DA03650A-AC86-4DB8-9746-328E07754C40}" sibTransId="{BF36C175-D858-42DB-95F1-398B2D867E48}"/>
    <dgm:cxn modelId="{E583DB77-BEA7-46A1-A8BB-BAB9A00932A8}" type="presOf" srcId="{1E618B3C-7304-4ABC-AAB6-2A3FCBBDC914}" destId="{D54522A8-711A-4630-958A-12DF3648621E}" srcOrd="0" destOrd="0" presId="urn:microsoft.com/office/officeart/2005/8/layout/vList5"/>
    <dgm:cxn modelId="{12F36A78-3C01-4764-9984-A4A72DF7459A}" srcId="{9C80101D-4EF4-4479-B096-DF6BD5B17681}" destId="{EE40CF5E-CBCD-469A-A4E4-B4D6523A4B5D}" srcOrd="0" destOrd="0" parTransId="{48997665-4963-439B-99EB-15FA3B0DC831}" sibTransId="{8C60611C-40D8-4E3B-A981-DC0D20E26266}"/>
    <dgm:cxn modelId="{013E697E-1DEB-4583-BB53-F6500738D807}" srcId="{CDFA738A-6FEA-4B4E-8913-004FD4362EE5}" destId="{20A983B5-73F5-46EB-8C4A-3E7B44BC0F5C}" srcOrd="0" destOrd="0" parTransId="{D3255CB8-A65F-49AB-BA9F-19DCB67753AA}" sibTransId="{23E13F10-FDDE-480D-9007-1013392573B1}"/>
    <dgm:cxn modelId="{236FD5A6-521A-42F9-9522-1933814D73EE}" srcId="{719DAFF0-6CBC-478F-AF4B-E6319281219A}" destId="{EA9B47D4-4BDE-42A7-A8D4-30AF3BDBF931}" srcOrd="0" destOrd="0" parTransId="{F619A678-ADF6-46E2-9CB6-916C347B4B3E}" sibTransId="{FB80279C-267F-456C-A072-2B645F00F259}"/>
    <dgm:cxn modelId="{28A008B5-9003-4957-84D5-A59D3E409BB8}" srcId="{65506FA8-43FA-41A4-B120-445D1165E525}" destId="{9C80101D-4EF4-4479-B096-DF6BD5B17681}" srcOrd="3" destOrd="0" parTransId="{2AACF793-41E5-4ED9-AD4D-877E433AAD4B}" sibTransId="{098B02FC-82C6-4CFF-83F3-1FC45DB7A51E}"/>
    <dgm:cxn modelId="{1868D2B6-2BD3-456E-940D-18A57C08492A}" type="presOf" srcId="{EE40CF5E-CBCD-469A-A4E4-B4D6523A4B5D}" destId="{6D0BF1A2-C3DB-4A96-AD54-D21D08BD4B29}" srcOrd="0" destOrd="0" presId="urn:microsoft.com/office/officeart/2005/8/layout/vList5"/>
    <dgm:cxn modelId="{845819BD-B94B-4F4E-943E-8A64FB441525}" type="presOf" srcId="{20A983B5-73F5-46EB-8C4A-3E7B44BC0F5C}" destId="{13482CE1-0B98-4FC6-BA7C-55C81132E1EF}" srcOrd="0" destOrd="0" presId="urn:microsoft.com/office/officeart/2005/8/layout/vList5"/>
    <dgm:cxn modelId="{DE0AB5CE-D6F7-4B29-860E-9A325F6D3A08}" type="presOf" srcId="{9C80101D-4EF4-4479-B096-DF6BD5B17681}" destId="{8676FA5C-FA27-4296-8442-63814231789C}" srcOrd="0" destOrd="0" presId="urn:microsoft.com/office/officeart/2005/8/layout/vList5"/>
    <dgm:cxn modelId="{D20976D3-B176-48F0-BF23-5C6F7BA3BE7B}" type="presOf" srcId="{719DAFF0-6CBC-478F-AF4B-E6319281219A}" destId="{529F1815-6374-487E-B7ED-773539F6D3FD}" srcOrd="0" destOrd="0" presId="urn:microsoft.com/office/officeart/2005/8/layout/vList5"/>
    <dgm:cxn modelId="{ACF074E5-5F85-4DAE-BF04-48CF182EB0EF}" srcId="{966D9200-13DA-4E05-B9EF-C82788702EFF}" destId="{1E618B3C-7304-4ABC-AAB6-2A3FCBBDC914}" srcOrd="0" destOrd="0" parTransId="{4470972B-CB05-4B3D-9ABB-065A9127B5CA}" sibTransId="{21A7CCB4-74F4-45D8-9A09-747B4646D141}"/>
    <dgm:cxn modelId="{B14E73E7-F83A-41FA-BDFE-2896B100D1B3}" type="presOf" srcId="{CDFA738A-6FEA-4B4E-8913-004FD4362EE5}" destId="{F0F2ABF0-2098-442A-BBA1-9185E50D46E2}" srcOrd="0" destOrd="0" presId="urn:microsoft.com/office/officeart/2005/8/layout/vList5"/>
    <dgm:cxn modelId="{D49A57EA-2650-4CC2-BF3F-9529EACF4E92}" srcId="{65506FA8-43FA-41A4-B120-445D1165E525}" destId="{CDFA738A-6FEA-4B4E-8913-004FD4362EE5}" srcOrd="1" destOrd="0" parTransId="{F195A1A4-E680-4E3A-8C45-CE41137101E8}" sibTransId="{2AE16750-71DC-49D3-95EA-E35F6DDEEF0C}"/>
    <dgm:cxn modelId="{A52D09F8-47DF-43B8-9C60-63BCE7855E15}" type="presOf" srcId="{966D9200-13DA-4E05-B9EF-C82788702EFF}" destId="{57FC79EA-B573-4303-A113-614FA5F58C07}" srcOrd="0" destOrd="0" presId="urn:microsoft.com/office/officeart/2005/8/layout/vList5"/>
    <dgm:cxn modelId="{57A8E3D4-0206-43D8-BF5F-257FB1C59602}" type="presParOf" srcId="{C29E30CC-1E99-4882-A7D9-FFE542ECA33F}" destId="{8553CC35-C50C-488B-9EEC-E91CEAC15803}" srcOrd="0" destOrd="0" presId="urn:microsoft.com/office/officeart/2005/8/layout/vList5"/>
    <dgm:cxn modelId="{4B9E0970-30BB-4062-A5D4-DC4FF2F3456F}" type="presParOf" srcId="{8553CC35-C50C-488B-9EEC-E91CEAC15803}" destId="{57FC79EA-B573-4303-A113-614FA5F58C07}" srcOrd="0" destOrd="0" presId="urn:microsoft.com/office/officeart/2005/8/layout/vList5"/>
    <dgm:cxn modelId="{D98E4E00-3025-499C-AC73-E634BDF725E6}" type="presParOf" srcId="{8553CC35-C50C-488B-9EEC-E91CEAC15803}" destId="{D54522A8-711A-4630-958A-12DF3648621E}" srcOrd="1" destOrd="0" presId="urn:microsoft.com/office/officeart/2005/8/layout/vList5"/>
    <dgm:cxn modelId="{3CC2EC33-C5E0-4CF6-A70A-C00163105C65}" type="presParOf" srcId="{C29E30CC-1E99-4882-A7D9-FFE542ECA33F}" destId="{575284E9-588A-4D5D-89F9-6DB5F2C1FFA6}" srcOrd="1" destOrd="0" presId="urn:microsoft.com/office/officeart/2005/8/layout/vList5"/>
    <dgm:cxn modelId="{E70DE11F-6256-4E27-A26F-691F988D0DCD}" type="presParOf" srcId="{C29E30CC-1E99-4882-A7D9-FFE542ECA33F}" destId="{CD80D1D9-CD42-4747-A98A-E1E9EEE508EB}" srcOrd="2" destOrd="0" presId="urn:microsoft.com/office/officeart/2005/8/layout/vList5"/>
    <dgm:cxn modelId="{6E5C4295-965B-44AE-A209-DBE2FBAFFE53}" type="presParOf" srcId="{CD80D1D9-CD42-4747-A98A-E1E9EEE508EB}" destId="{F0F2ABF0-2098-442A-BBA1-9185E50D46E2}" srcOrd="0" destOrd="0" presId="urn:microsoft.com/office/officeart/2005/8/layout/vList5"/>
    <dgm:cxn modelId="{2981A558-88F9-4147-8925-4F2A9EA0075B}" type="presParOf" srcId="{CD80D1D9-CD42-4747-A98A-E1E9EEE508EB}" destId="{13482CE1-0B98-4FC6-BA7C-55C81132E1EF}" srcOrd="1" destOrd="0" presId="urn:microsoft.com/office/officeart/2005/8/layout/vList5"/>
    <dgm:cxn modelId="{655AF561-4B29-45C7-BC83-5CE49753C840}" type="presParOf" srcId="{C29E30CC-1E99-4882-A7D9-FFE542ECA33F}" destId="{4F5EADA2-C698-4DED-92BB-C070088C337D}" srcOrd="3" destOrd="0" presId="urn:microsoft.com/office/officeart/2005/8/layout/vList5"/>
    <dgm:cxn modelId="{6789F778-B177-4B22-A557-EFF457E0E3BA}" type="presParOf" srcId="{C29E30CC-1E99-4882-A7D9-FFE542ECA33F}" destId="{B0E65AFB-EC88-461D-9771-D0A0EFF6F6C0}" srcOrd="4" destOrd="0" presId="urn:microsoft.com/office/officeart/2005/8/layout/vList5"/>
    <dgm:cxn modelId="{6409AC47-F07F-4990-AEC0-47A4C76B88B2}" type="presParOf" srcId="{B0E65AFB-EC88-461D-9771-D0A0EFF6F6C0}" destId="{529F1815-6374-487E-B7ED-773539F6D3FD}" srcOrd="0" destOrd="0" presId="urn:microsoft.com/office/officeart/2005/8/layout/vList5"/>
    <dgm:cxn modelId="{0E684408-158D-4066-BD79-E5282433B183}" type="presParOf" srcId="{B0E65AFB-EC88-461D-9771-D0A0EFF6F6C0}" destId="{31D3B664-EDD7-4DAD-9904-2AE50D39AA99}" srcOrd="1" destOrd="0" presId="urn:microsoft.com/office/officeart/2005/8/layout/vList5"/>
    <dgm:cxn modelId="{3328C658-E8F3-4CF1-A50D-7E478127300E}" type="presParOf" srcId="{C29E30CC-1E99-4882-A7D9-FFE542ECA33F}" destId="{84CC0AA7-2771-4CD7-AD1D-C34B4E0BDFB3}" srcOrd="5" destOrd="0" presId="urn:microsoft.com/office/officeart/2005/8/layout/vList5"/>
    <dgm:cxn modelId="{20B05DF3-34BF-4AAB-BCB5-2BEE5751E4A4}" type="presParOf" srcId="{C29E30CC-1E99-4882-A7D9-FFE542ECA33F}" destId="{1DA47741-03EC-409B-A1A5-6A9B2FCB5B11}" srcOrd="6" destOrd="0" presId="urn:microsoft.com/office/officeart/2005/8/layout/vList5"/>
    <dgm:cxn modelId="{2A90192C-4309-4038-A3E8-F21368E1E524}" type="presParOf" srcId="{1DA47741-03EC-409B-A1A5-6A9B2FCB5B11}" destId="{8676FA5C-FA27-4296-8442-63814231789C}" srcOrd="0" destOrd="0" presId="urn:microsoft.com/office/officeart/2005/8/layout/vList5"/>
    <dgm:cxn modelId="{FEF4583E-67EE-4D9C-8CF2-F3CAC4182EB4}" type="presParOf" srcId="{1DA47741-03EC-409B-A1A5-6A9B2FCB5B11}" destId="{6D0BF1A2-C3DB-4A96-AD54-D21D08BD4B2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5506FA8-43FA-41A4-B120-445D1165E52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966D9200-13DA-4E05-B9EF-C82788702EFF}">
      <dgm:prSet/>
      <dgm:spPr/>
      <dgm:t>
        <a:bodyPr/>
        <a:lstStyle/>
        <a:p>
          <a:r>
            <a:rPr lang="en-US" baseline="0" dirty="0"/>
            <a:t>The entire plan cache – all databases</a:t>
          </a:r>
          <a:endParaRPr lang="en-US" dirty="0"/>
        </a:p>
      </dgm:t>
    </dgm:pt>
    <dgm:pt modelId="{D13000EB-5D30-4593-AAFF-DF68DFA1B12B}" type="parTrans" cxnId="{94487737-873E-4078-B093-B839A4F9D4FC}">
      <dgm:prSet/>
      <dgm:spPr/>
      <dgm:t>
        <a:bodyPr/>
        <a:lstStyle/>
        <a:p>
          <a:endParaRPr lang="en-US"/>
        </a:p>
      </dgm:t>
    </dgm:pt>
    <dgm:pt modelId="{5B7B0E4A-2BD6-437E-879A-F755A624845F}" type="sibTrans" cxnId="{94487737-873E-4078-B093-B839A4F9D4FC}">
      <dgm:prSet/>
      <dgm:spPr/>
      <dgm:t>
        <a:bodyPr/>
        <a:lstStyle/>
        <a:p>
          <a:endParaRPr lang="en-US"/>
        </a:p>
      </dgm:t>
    </dgm:pt>
    <dgm:pt modelId="{1E618B3C-7304-4ABC-AAB6-2A3FCBBDC914}">
      <dgm:prSet/>
      <dgm:spPr/>
      <dgm:t>
        <a:bodyPr/>
        <a:lstStyle/>
        <a:p>
          <a:r>
            <a:rPr lang="en-US" baseline="0" dirty="0">
              <a:solidFill>
                <a:srgbClr val="0078D4"/>
              </a:solidFill>
            </a:rPr>
            <a:t>ALTER DATABASE </a:t>
          </a:r>
          <a:r>
            <a:rPr lang="en-US" baseline="0" dirty="0"/>
            <a:t>SCOPED CONFIGURATION </a:t>
          </a:r>
          <a:r>
            <a:rPr lang="en-US" baseline="0" dirty="0">
              <a:solidFill>
                <a:srgbClr val="0078D4"/>
              </a:solidFill>
            </a:rPr>
            <a:t>CLEAR</a:t>
          </a:r>
          <a:r>
            <a:rPr lang="en-US" baseline="0" dirty="0"/>
            <a:t> PROCEDURE_CACHE;</a:t>
          </a:r>
          <a:endParaRPr lang="en-US" dirty="0"/>
        </a:p>
      </dgm:t>
    </dgm:pt>
    <dgm:pt modelId="{4470972B-CB05-4B3D-9ABB-065A9127B5CA}" type="parTrans" cxnId="{ACF074E5-5F85-4DAE-BF04-48CF182EB0EF}">
      <dgm:prSet/>
      <dgm:spPr/>
      <dgm:t>
        <a:bodyPr/>
        <a:lstStyle/>
        <a:p>
          <a:endParaRPr lang="en-US"/>
        </a:p>
      </dgm:t>
    </dgm:pt>
    <dgm:pt modelId="{21A7CCB4-74F4-45D8-9A09-747B4646D141}" type="sibTrans" cxnId="{ACF074E5-5F85-4DAE-BF04-48CF182EB0EF}">
      <dgm:prSet/>
      <dgm:spPr/>
      <dgm:t>
        <a:bodyPr/>
        <a:lstStyle/>
        <a:p>
          <a:endParaRPr lang="en-US"/>
        </a:p>
      </dgm:t>
    </dgm:pt>
    <dgm:pt modelId="{CDFA738A-6FEA-4B4E-8913-004FD4362EE5}">
      <dgm:prSet/>
      <dgm:spPr/>
      <dgm:t>
        <a:bodyPr/>
        <a:lstStyle/>
        <a:p>
          <a:r>
            <a:rPr lang="en-US" baseline="0" dirty="0"/>
            <a:t>All plans of a specific type</a:t>
          </a:r>
          <a:endParaRPr lang="en-US" dirty="0"/>
        </a:p>
      </dgm:t>
    </dgm:pt>
    <dgm:pt modelId="{F195A1A4-E680-4E3A-8C45-CE41137101E8}" type="parTrans" cxnId="{D49A57EA-2650-4CC2-BF3F-9529EACF4E92}">
      <dgm:prSet/>
      <dgm:spPr/>
      <dgm:t>
        <a:bodyPr/>
        <a:lstStyle/>
        <a:p>
          <a:endParaRPr lang="en-US"/>
        </a:p>
      </dgm:t>
    </dgm:pt>
    <dgm:pt modelId="{2AE16750-71DC-49D3-95EA-E35F6DDEEF0C}" type="sibTrans" cxnId="{D49A57EA-2650-4CC2-BF3F-9529EACF4E92}">
      <dgm:prSet/>
      <dgm:spPr/>
      <dgm:t>
        <a:bodyPr/>
        <a:lstStyle/>
        <a:p>
          <a:endParaRPr lang="en-US"/>
        </a:p>
      </dgm:t>
    </dgm:pt>
    <dgm:pt modelId="{20A983B5-73F5-46EB-8C4A-3E7B44BC0F5C}">
      <dgm:prSet/>
      <dgm:spPr/>
      <dgm:t>
        <a:bodyPr/>
        <a:lstStyle/>
        <a:p>
          <a:r>
            <a:rPr lang="en-US" baseline="0" dirty="0"/>
            <a:t>DBCC FREESYSTEMCACHE ('SQL Plans’); </a:t>
          </a:r>
          <a:endParaRPr lang="en-US" dirty="0"/>
        </a:p>
      </dgm:t>
    </dgm:pt>
    <dgm:pt modelId="{D3255CB8-A65F-49AB-BA9F-19DCB67753AA}" type="parTrans" cxnId="{013E697E-1DEB-4583-BB53-F6500738D807}">
      <dgm:prSet/>
      <dgm:spPr/>
      <dgm:t>
        <a:bodyPr/>
        <a:lstStyle/>
        <a:p>
          <a:endParaRPr lang="en-US"/>
        </a:p>
      </dgm:t>
    </dgm:pt>
    <dgm:pt modelId="{23E13F10-FDDE-480D-9007-1013392573B1}" type="sibTrans" cxnId="{013E697E-1DEB-4583-BB53-F6500738D807}">
      <dgm:prSet/>
      <dgm:spPr/>
      <dgm:t>
        <a:bodyPr/>
        <a:lstStyle/>
        <a:p>
          <a:endParaRPr lang="en-US"/>
        </a:p>
      </dgm:t>
    </dgm:pt>
    <dgm:pt modelId="{719DAFF0-6CBC-478F-AF4B-E6319281219A}">
      <dgm:prSet/>
      <dgm:spPr/>
      <dgm:t>
        <a:bodyPr/>
        <a:lstStyle/>
        <a:p>
          <a:r>
            <a:rPr lang="en-US" baseline="0" dirty="0"/>
            <a:t>All plans for a single database</a:t>
          </a:r>
          <a:endParaRPr lang="en-US" dirty="0"/>
        </a:p>
      </dgm:t>
    </dgm:pt>
    <dgm:pt modelId="{DA03650A-AC86-4DB8-9746-328E07754C40}" type="parTrans" cxnId="{55D1F938-34ED-4897-AE10-3BF3F8720DC2}">
      <dgm:prSet/>
      <dgm:spPr/>
      <dgm:t>
        <a:bodyPr/>
        <a:lstStyle/>
        <a:p>
          <a:endParaRPr lang="en-US"/>
        </a:p>
      </dgm:t>
    </dgm:pt>
    <dgm:pt modelId="{BF36C175-D858-42DB-95F1-398B2D867E48}" type="sibTrans" cxnId="{55D1F938-34ED-4897-AE10-3BF3F8720DC2}">
      <dgm:prSet/>
      <dgm:spPr/>
      <dgm:t>
        <a:bodyPr/>
        <a:lstStyle/>
        <a:p>
          <a:endParaRPr lang="en-US"/>
        </a:p>
      </dgm:t>
    </dgm:pt>
    <dgm:pt modelId="{EA9B47D4-4BDE-42A7-A8D4-30AF3BDBF931}">
      <dgm:prSet/>
      <dgm:spPr/>
      <dgm:t>
        <a:bodyPr/>
        <a:lstStyle/>
        <a:p>
          <a:r>
            <a:rPr lang="en-US" baseline="0" dirty="0">
              <a:solidFill>
                <a:srgbClr val="0078D4"/>
              </a:solidFill>
            </a:rPr>
            <a:t>ALTER</a:t>
          </a:r>
          <a:r>
            <a:rPr lang="en-US" baseline="0" dirty="0"/>
            <a:t> </a:t>
          </a:r>
          <a:r>
            <a:rPr lang="en-US" baseline="0" dirty="0">
              <a:solidFill>
                <a:srgbClr val="0078D4"/>
              </a:solidFill>
            </a:rPr>
            <a:t>DATABASE</a:t>
          </a:r>
          <a:r>
            <a:rPr lang="en-US" baseline="0" dirty="0"/>
            <a:t> SCOPED CONFIGURATION </a:t>
          </a:r>
          <a:r>
            <a:rPr lang="en-US" baseline="0" dirty="0">
              <a:solidFill>
                <a:srgbClr val="0078D4"/>
              </a:solidFill>
            </a:rPr>
            <a:t>CLEAR</a:t>
          </a:r>
          <a:r>
            <a:rPr lang="en-US" baseline="0" dirty="0"/>
            <a:t> PROCEDURE_CACHE;</a:t>
          </a:r>
          <a:endParaRPr lang="en-US" dirty="0"/>
        </a:p>
      </dgm:t>
    </dgm:pt>
    <dgm:pt modelId="{F619A678-ADF6-46E2-9CB6-916C347B4B3E}" type="parTrans" cxnId="{236FD5A6-521A-42F9-9522-1933814D73EE}">
      <dgm:prSet/>
      <dgm:spPr/>
      <dgm:t>
        <a:bodyPr/>
        <a:lstStyle/>
        <a:p>
          <a:endParaRPr lang="en-US"/>
        </a:p>
      </dgm:t>
    </dgm:pt>
    <dgm:pt modelId="{FB80279C-267F-456C-A072-2B645F00F259}" type="sibTrans" cxnId="{236FD5A6-521A-42F9-9522-1933814D73EE}">
      <dgm:prSet/>
      <dgm:spPr/>
      <dgm:t>
        <a:bodyPr/>
        <a:lstStyle/>
        <a:p>
          <a:endParaRPr lang="en-US"/>
        </a:p>
      </dgm:t>
    </dgm:pt>
    <dgm:pt modelId="{9C80101D-4EF4-4479-B096-DF6BD5B17681}">
      <dgm:prSet/>
      <dgm:spPr/>
      <dgm:t>
        <a:bodyPr/>
        <a:lstStyle/>
        <a:p>
          <a:r>
            <a:rPr lang="en-US" baseline="0" dirty="0"/>
            <a:t>A specific plan</a:t>
          </a:r>
          <a:endParaRPr lang="en-US" dirty="0"/>
        </a:p>
      </dgm:t>
    </dgm:pt>
    <dgm:pt modelId="{2AACF793-41E5-4ED9-AD4D-877E433AAD4B}" type="parTrans" cxnId="{28A008B5-9003-4957-84D5-A59D3E409BB8}">
      <dgm:prSet/>
      <dgm:spPr/>
      <dgm:t>
        <a:bodyPr/>
        <a:lstStyle/>
        <a:p>
          <a:endParaRPr lang="en-US"/>
        </a:p>
      </dgm:t>
    </dgm:pt>
    <dgm:pt modelId="{098B02FC-82C6-4CFF-83F3-1FC45DB7A51E}" type="sibTrans" cxnId="{28A008B5-9003-4957-84D5-A59D3E409BB8}">
      <dgm:prSet/>
      <dgm:spPr/>
      <dgm:t>
        <a:bodyPr/>
        <a:lstStyle/>
        <a:p>
          <a:endParaRPr lang="en-US"/>
        </a:p>
      </dgm:t>
    </dgm:pt>
    <dgm:pt modelId="{EE40CF5E-CBCD-469A-A4E4-B4D6523A4B5D}">
      <dgm:prSet/>
      <dgm:spPr/>
      <dgm:t>
        <a:bodyPr/>
        <a:lstStyle/>
        <a:p>
          <a:r>
            <a:rPr lang="en-US" baseline="0" dirty="0">
              <a:solidFill>
                <a:srgbClr val="0078D4"/>
              </a:solidFill>
            </a:rPr>
            <a:t>ALTER</a:t>
          </a:r>
          <a:r>
            <a:rPr lang="en-US" baseline="0" dirty="0"/>
            <a:t> </a:t>
          </a:r>
          <a:r>
            <a:rPr lang="en-US" baseline="0" dirty="0">
              <a:solidFill>
                <a:srgbClr val="0078D4"/>
              </a:solidFill>
            </a:rPr>
            <a:t>DATABASE</a:t>
          </a:r>
          <a:r>
            <a:rPr lang="en-US" baseline="0" dirty="0"/>
            <a:t> SCOPED CONFIGURATION </a:t>
          </a:r>
          <a:r>
            <a:rPr lang="en-US" baseline="0" dirty="0">
              <a:solidFill>
                <a:srgbClr val="0078D4"/>
              </a:solidFill>
            </a:rPr>
            <a:t>CLEAR</a:t>
          </a:r>
          <a:r>
            <a:rPr lang="en-US" baseline="0" dirty="0"/>
            <a:t> PROCEDURE_CACHE &lt;plan_handle&gt;;</a:t>
          </a:r>
          <a:endParaRPr lang="en-US" dirty="0"/>
        </a:p>
      </dgm:t>
    </dgm:pt>
    <dgm:pt modelId="{48997665-4963-439B-99EB-15FA3B0DC831}" type="parTrans" cxnId="{12F36A78-3C01-4764-9984-A4A72DF7459A}">
      <dgm:prSet/>
      <dgm:spPr/>
      <dgm:t>
        <a:bodyPr/>
        <a:lstStyle/>
        <a:p>
          <a:endParaRPr lang="en-US"/>
        </a:p>
      </dgm:t>
    </dgm:pt>
    <dgm:pt modelId="{8C60611C-40D8-4E3B-A981-DC0D20E26266}" type="sibTrans" cxnId="{12F36A78-3C01-4764-9984-A4A72DF7459A}">
      <dgm:prSet/>
      <dgm:spPr/>
      <dgm:t>
        <a:bodyPr/>
        <a:lstStyle/>
        <a:p>
          <a:endParaRPr lang="en-US"/>
        </a:p>
      </dgm:t>
    </dgm:pt>
    <dgm:pt modelId="{C29E30CC-1E99-4882-A7D9-FFE542ECA33F}" type="pres">
      <dgm:prSet presAssocID="{65506FA8-43FA-41A4-B120-445D1165E525}" presName="Name0" presStyleCnt="0">
        <dgm:presLayoutVars>
          <dgm:dir/>
          <dgm:animLvl val="lvl"/>
          <dgm:resizeHandles val="exact"/>
        </dgm:presLayoutVars>
      </dgm:prSet>
      <dgm:spPr/>
    </dgm:pt>
    <dgm:pt modelId="{8553CC35-C50C-488B-9EEC-E91CEAC15803}" type="pres">
      <dgm:prSet presAssocID="{966D9200-13DA-4E05-B9EF-C82788702EFF}" presName="linNode" presStyleCnt="0"/>
      <dgm:spPr/>
    </dgm:pt>
    <dgm:pt modelId="{57FC79EA-B573-4303-A113-614FA5F58C07}" type="pres">
      <dgm:prSet presAssocID="{966D9200-13DA-4E05-B9EF-C82788702EFF}" presName="parentText" presStyleLbl="node1" presStyleIdx="0" presStyleCnt="4">
        <dgm:presLayoutVars>
          <dgm:chMax val="1"/>
          <dgm:bulletEnabled val="1"/>
        </dgm:presLayoutVars>
      </dgm:prSet>
      <dgm:spPr/>
    </dgm:pt>
    <dgm:pt modelId="{D54522A8-711A-4630-958A-12DF3648621E}" type="pres">
      <dgm:prSet presAssocID="{966D9200-13DA-4E05-B9EF-C82788702EFF}" presName="descendantText" presStyleLbl="alignAccFollowNode1" presStyleIdx="0" presStyleCnt="4">
        <dgm:presLayoutVars>
          <dgm:bulletEnabled val="1"/>
        </dgm:presLayoutVars>
      </dgm:prSet>
      <dgm:spPr/>
    </dgm:pt>
    <dgm:pt modelId="{575284E9-588A-4D5D-89F9-6DB5F2C1FFA6}" type="pres">
      <dgm:prSet presAssocID="{5B7B0E4A-2BD6-437E-879A-F755A624845F}" presName="sp" presStyleCnt="0"/>
      <dgm:spPr/>
    </dgm:pt>
    <dgm:pt modelId="{CD80D1D9-CD42-4747-A98A-E1E9EEE508EB}" type="pres">
      <dgm:prSet presAssocID="{CDFA738A-6FEA-4B4E-8913-004FD4362EE5}" presName="linNode" presStyleCnt="0"/>
      <dgm:spPr/>
    </dgm:pt>
    <dgm:pt modelId="{F0F2ABF0-2098-442A-BBA1-9185E50D46E2}" type="pres">
      <dgm:prSet presAssocID="{CDFA738A-6FEA-4B4E-8913-004FD4362EE5}" presName="parentText" presStyleLbl="node1" presStyleIdx="1" presStyleCnt="4">
        <dgm:presLayoutVars>
          <dgm:chMax val="1"/>
          <dgm:bulletEnabled val="1"/>
        </dgm:presLayoutVars>
      </dgm:prSet>
      <dgm:spPr/>
    </dgm:pt>
    <dgm:pt modelId="{13482CE1-0B98-4FC6-BA7C-55C81132E1EF}" type="pres">
      <dgm:prSet presAssocID="{CDFA738A-6FEA-4B4E-8913-004FD4362EE5}" presName="descendantText" presStyleLbl="alignAccFollowNode1" presStyleIdx="1" presStyleCnt="4">
        <dgm:presLayoutVars>
          <dgm:bulletEnabled val="1"/>
        </dgm:presLayoutVars>
      </dgm:prSet>
      <dgm:spPr/>
    </dgm:pt>
    <dgm:pt modelId="{4F5EADA2-C698-4DED-92BB-C070088C337D}" type="pres">
      <dgm:prSet presAssocID="{2AE16750-71DC-49D3-95EA-E35F6DDEEF0C}" presName="sp" presStyleCnt="0"/>
      <dgm:spPr/>
    </dgm:pt>
    <dgm:pt modelId="{B0E65AFB-EC88-461D-9771-D0A0EFF6F6C0}" type="pres">
      <dgm:prSet presAssocID="{719DAFF0-6CBC-478F-AF4B-E6319281219A}" presName="linNode" presStyleCnt="0"/>
      <dgm:spPr/>
    </dgm:pt>
    <dgm:pt modelId="{529F1815-6374-487E-B7ED-773539F6D3FD}" type="pres">
      <dgm:prSet presAssocID="{719DAFF0-6CBC-478F-AF4B-E6319281219A}" presName="parentText" presStyleLbl="node1" presStyleIdx="2" presStyleCnt="4">
        <dgm:presLayoutVars>
          <dgm:chMax val="1"/>
          <dgm:bulletEnabled val="1"/>
        </dgm:presLayoutVars>
      </dgm:prSet>
      <dgm:spPr/>
    </dgm:pt>
    <dgm:pt modelId="{31D3B664-EDD7-4DAD-9904-2AE50D39AA99}" type="pres">
      <dgm:prSet presAssocID="{719DAFF0-6CBC-478F-AF4B-E6319281219A}" presName="descendantText" presStyleLbl="alignAccFollowNode1" presStyleIdx="2" presStyleCnt="4">
        <dgm:presLayoutVars>
          <dgm:bulletEnabled val="1"/>
        </dgm:presLayoutVars>
      </dgm:prSet>
      <dgm:spPr/>
    </dgm:pt>
    <dgm:pt modelId="{84CC0AA7-2771-4CD7-AD1D-C34B4E0BDFB3}" type="pres">
      <dgm:prSet presAssocID="{BF36C175-D858-42DB-95F1-398B2D867E48}" presName="sp" presStyleCnt="0"/>
      <dgm:spPr/>
    </dgm:pt>
    <dgm:pt modelId="{1DA47741-03EC-409B-A1A5-6A9B2FCB5B11}" type="pres">
      <dgm:prSet presAssocID="{9C80101D-4EF4-4479-B096-DF6BD5B17681}" presName="linNode" presStyleCnt="0"/>
      <dgm:spPr/>
    </dgm:pt>
    <dgm:pt modelId="{8676FA5C-FA27-4296-8442-63814231789C}" type="pres">
      <dgm:prSet presAssocID="{9C80101D-4EF4-4479-B096-DF6BD5B17681}" presName="parentText" presStyleLbl="node1" presStyleIdx="3" presStyleCnt="4">
        <dgm:presLayoutVars>
          <dgm:chMax val="1"/>
          <dgm:bulletEnabled val="1"/>
        </dgm:presLayoutVars>
      </dgm:prSet>
      <dgm:spPr/>
    </dgm:pt>
    <dgm:pt modelId="{6D0BF1A2-C3DB-4A96-AD54-D21D08BD4B29}" type="pres">
      <dgm:prSet presAssocID="{9C80101D-4EF4-4479-B096-DF6BD5B17681}" presName="descendantText" presStyleLbl="alignAccFollowNode1" presStyleIdx="3" presStyleCnt="4">
        <dgm:presLayoutVars>
          <dgm:bulletEnabled val="1"/>
        </dgm:presLayoutVars>
      </dgm:prSet>
      <dgm:spPr/>
    </dgm:pt>
  </dgm:ptLst>
  <dgm:cxnLst>
    <dgm:cxn modelId="{69910216-9AC5-4350-8652-3C2D4AB08AAE}" type="presOf" srcId="{65506FA8-43FA-41A4-B120-445D1165E525}" destId="{C29E30CC-1E99-4882-A7D9-FFE542ECA33F}" srcOrd="0" destOrd="0" presId="urn:microsoft.com/office/officeart/2005/8/layout/vList5"/>
    <dgm:cxn modelId="{9FF95536-8D1E-4990-8B6E-0A2D639A9769}" type="presOf" srcId="{EA9B47D4-4BDE-42A7-A8D4-30AF3BDBF931}" destId="{31D3B664-EDD7-4DAD-9904-2AE50D39AA99}" srcOrd="0" destOrd="0" presId="urn:microsoft.com/office/officeart/2005/8/layout/vList5"/>
    <dgm:cxn modelId="{94487737-873E-4078-B093-B839A4F9D4FC}" srcId="{65506FA8-43FA-41A4-B120-445D1165E525}" destId="{966D9200-13DA-4E05-B9EF-C82788702EFF}" srcOrd="0" destOrd="0" parTransId="{D13000EB-5D30-4593-AAFF-DF68DFA1B12B}" sibTransId="{5B7B0E4A-2BD6-437E-879A-F755A624845F}"/>
    <dgm:cxn modelId="{55D1F938-34ED-4897-AE10-3BF3F8720DC2}" srcId="{65506FA8-43FA-41A4-B120-445D1165E525}" destId="{719DAFF0-6CBC-478F-AF4B-E6319281219A}" srcOrd="2" destOrd="0" parTransId="{DA03650A-AC86-4DB8-9746-328E07754C40}" sibTransId="{BF36C175-D858-42DB-95F1-398B2D867E48}"/>
    <dgm:cxn modelId="{E583DB77-BEA7-46A1-A8BB-BAB9A00932A8}" type="presOf" srcId="{1E618B3C-7304-4ABC-AAB6-2A3FCBBDC914}" destId="{D54522A8-711A-4630-958A-12DF3648621E}" srcOrd="0" destOrd="0" presId="urn:microsoft.com/office/officeart/2005/8/layout/vList5"/>
    <dgm:cxn modelId="{12F36A78-3C01-4764-9984-A4A72DF7459A}" srcId="{9C80101D-4EF4-4479-B096-DF6BD5B17681}" destId="{EE40CF5E-CBCD-469A-A4E4-B4D6523A4B5D}" srcOrd="0" destOrd="0" parTransId="{48997665-4963-439B-99EB-15FA3B0DC831}" sibTransId="{8C60611C-40D8-4E3B-A981-DC0D20E26266}"/>
    <dgm:cxn modelId="{013E697E-1DEB-4583-BB53-F6500738D807}" srcId="{CDFA738A-6FEA-4B4E-8913-004FD4362EE5}" destId="{20A983B5-73F5-46EB-8C4A-3E7B44BC0F5C}" srcOrd="0" destOrd="0" parTransId="{D3255CB8-A65F-49AB-BA9F-19DCB67753AA}" sibTransId="{23E13F10-FDDE-480D-9007-1013392573B1}"/>
    <dgm:cxn modelId="{236FD5A6-521A-42F9-9522-1933814D73EE}" srcId="{719DAFF0-6CBC-478F-AF4B-E6319281219A}" destId="{EA9B47D4-4BDE-42A7-A8D4-30AF3BDBF931}" srcOrd="0" destOrd="0" parTransId="{F619A678-ADF6-46E2-9CB6-916C347B4B3E}" sibTransId="{FB80279C-267F-456C-A072-2B645F00F259}"/>
    <dgm:cxn modelId="{28A008B5-9003-4957-84D5-A59D3E409BB8}" srcId="{65506FA8-43FA-41A4-B120-445D1165E525}" destId="{9C80101D-4EF4-4479-B096-DF6BD5B17681}" srcOrd="3" destOrd="0" parTransId="{2AACF793-41E5-4ED9-AD4D-877E433AAD4B}" sibTransId="{098B02FC-82C6-4CFF-83F3-1FC45DB7A51E}"/>
    <dgm:cxn modelId="{1868D2B6-2BD3-456E-940D-18A57C08492A}" type="presOf" srcId="{EE40CF5E-CBCD-469A-A4E4-B4D6523A4B5D}" destId="{6D0BF1A2-C3DB-4A96-AD54-D21D08BD4B29}" srcOrd="0" destOrd="0" presId="urn:microsoft.com/office/officeart/2005/8/layout/vList5"/>
    <dgm:cxn modelId="{845819BD-B94B-4F4E-943E-8A64FB441525}" type="presOf" srcId="{20A983B5-73F5-46EB-8C4A-3E7B44BC0F5C}" destId="{13482CE1-0B98-4FC6-BA7C-55C81132E1EF}" srcOrd="0" destOrd="0" presId="urn:microsoft.com/office/officeart/2005/8/layout/vList5"/>
    <dgm:cxn modelId="{DE0AB5CE-D6F7-4B29-860E-9A325F6D3A08}" type="presOf" srcId="{9C80101D-4EF4-4479-B096-DF6BD5B17681}" destId="{8676FA5C-FA27-4296-8442-63814231789C}" srcOrd="0" destOrd="0" presId="urn:microsoft.com/office/officeart/2005/8/layout/vList5"/>
    <dgm:cxn modelId="{D20976D3-B176-48F0-BF23-5C6F7BA3BE7B}" type="presOf" srcId="{719DAFF0-6CBC-478F-AF4B-E6319281219A}" destId="{529F1815-6374-487E-B7ED-773539F6D3FD}" srcOrd="0" destOrd="0" presId="urn:microsoft.com/office/officeart/2005/8/layout/vList5"/>
    <dgm:cxn modelId="{ACF074E5-5F85-4DAE-BF04-48CF182EB0EF}" srcId="{966D9200-13DA-4E05-B9EF-C82788702EFF}" destId="{1E618B3C-7304-4ABC-AAB6-2A3FCBBDC914}" srcOrd="0" destOrd="0" parTransId="{4470972B-CB05-4B3D-9ABB-065A9127B5CA}" sibTransId="{21A7CCB4-74F4-45D8-9A09-747B4646D141}"/>
    <dgm:cxn modelId="{B14E73E7-F83A-41FA-BDFE-2896B100D1B3}" type="presOf" srcId="{CDFA738A-6FEA-4B4E-8913-004FD4362EE5}" destId="{F0F2ABF0-2098-442A-BBA1-9185E50D46E2}" srcOrd="0" destOrd="0" presId="urn:microsoft.com/office/officeart/2005/8/layout/vList5"/>
    <dgm:cxn modelId="{D49A57EA-2650-4CC2-BF3F-9529EACF4E92}" srcId="{65506FA8-43FA-41A4-B120-445D1165E525}" destId="{CDFA738A-6FEA-4B4E-8913-004FD4362EE5}" srcOrd="1" destOrd="0" parTransId="{F195A1A4-E680-4E3A-8C45-CE41137101E8}" sibTransId="{2AE16750-71DC-49D3-95EA-E35F6DDEEF0C}"/>
    <dgm:cxn modelId="{A52D09F8-47DF-43B8-9C60-63BCE7855E15}" type="presOf" srcId="{966D9200-13DA-4E05-B9EF-C82788702EFF}" destId="{57FC79EA-B573-4303-A113-614FA5F58C07}" srcOrd="0" destOrd="0" presId="urn:microsoft.com/office/officeart/2005/8/layout/vList5"/>
    <dgm:cxn modelId="{57A8E3D4-0206-43D8-BF5F-257FB1C59602}" type="presParOf" srcId="{C29E30CC-1E99-4882-A7D9-FFE542ECA33F}" destId="{8553CC35-C50C-488B-9EEC-E91CEAC15803}" srcOrd="0" destOrd="0" presId="urn:microsoft.com/office/officeart/2005/8/layout/vList5"/>
    <dgm:cxn modelId="{4B9E0970-30BB-4062-A5D4-DC4FF2F3456F}" type="presParOf" srcId="{8553CC35-C50C-488B-9EEC-E91CEAC15803}" destId="{57FC79EA-B573-4303-A113-614FA5F58C07}" srcOrd="0" destOrd="0" presId="urn:microsoft.com/office/officeart/2005/8/layout/vList5"/>
    <dgm:cxn modelId="{D98E4E00-3025-499C-AC73-E634BDF725E6}" type="presParOf" srcId="{8553CC35-C50C-488B-9EEC-E91CEAC15803}" destId="{D54522A8-711A-4630-958A-12DF3648621E}" srcOrd="1" destOrd="0" presId="urn:microsoft.com/office/officeart/2005/8/layout/vList5"/>
    <dgm:cxn modelId="{3CC2EC33-C5E0-4CF6-A70A-C00163105C65}" type="presParOf" srcId="{C29E30CC-1E99-4882-A7D9-FFE542ECA33F}" destId="{575284E9-588A-4D5D-89F9-6DB5F2C1FFA6}" srcOrd="1" destOrd="0" presId="urn:microsoft.com/office/officeart/2005/8/layout/vList5"/>
    <dgm:cxn modelId="{E70DE11F-6256-4E27-A26F-691F988D0DCD}" type="presParOf" srcId="{C29E30CC-1E99-4882-A7D9-FFE542ECA33F}" destId="{CD80D1D9-CD42-4747-A98A-E1E9EEE508EB}" srcOrd="2" destOrd="0" presId="urn:microsoft.com/office/officeart/2005/8/layout/vList5"/>
    <dgm:cxn modelId="{6E5C4295-965B-44AE-A209-DBE2FBAFFE53}" type="presParOf" srcId="{CD80D1D9-CD42-4747-A98A-E1E9EEE508EB}" destId="{F0F2ABF0-2098-442A-BBA1-9185E50D46E2}" srcOrd="0" destOrd="0" presId="urn:microsoft.com/office/officeart/2005/8/layout/vList5"/>
    <dgm:cxn modelId="{2981A558-88F9-4147-8925-4F2A9EA0075B}" type="presParOf" srcId="{CD80D1D9-CD42-4747-A98A-E1E9EEE508EB}" destId="{13482CE1-0B98-4FC6-BA7C-55C81132E1EF}" srcOrd="1" destOrd="0" presId="urn:microsoft.com/office/officeart/2005/8/layout/vList5"/>
    <dgm:cxn modelId="{655AF561-4B29-45C7-BC83-5CE49753C840}" type="presParOf" srcId="{C29E30CC-1E99-4882-A7D9-FFE542ECA33F}" destId="{4F5EADA2-C698-4DED-92BB-C070088C337D}" srcOrd="3" destOrd="0" presId="urn:microsoft.com/office/officeart/2005/8/layout/vList5"/>
    <dgm:cxn modelId="{6789F778-B177-4B22-A557-EFF457E0E3BA}" type="presParOf" srcId="{C29E30CC-1E99-4882-A7D9-FFE542ECA33F}" destId="{B0E65AFB-EC88-461D-9771-D0A0EFF6F6C0}" srcOrd="4" destOrd="0" presId="urn:microsoft.com/office/officeart/2005/8/layout/vList5"/>
    <dgm:cxn modelId="{6409AC47-F07F-4990-AEC0-47A4C76B88B2}" type="presParOf" srcId="{B0E65AFB-EC88-461D-9771-D0A0EFF6F6C0}" destId="{529F1815-6374-487E-B7ED-773539F6D3FD}" srcOrd="0" destOrd="0" presId="urn:microsoft.com/office/officeart/2005/8/layout/vList5"/>
    <dgm:cxn modelId="{0E684408-158D-4066-BD79-E5282433B183}" type="presParOf" srcId="{B0E65AFB-EC88-461D-9771-D0A0EFF6F6C0}" destId="{31D3B664-EDD7-4DAD-9904-2AE50D39AA99}" srcOrd="1" destOrd="0" presId="urn:microsoft.com/office/officeart/2005/8/layout/vList5"/>
    <dgm:cxn modelId="{3328C658-E8F3-4CF1-A50D-7E478127300E}" type="presParOf" srcId="{C29E30CC-1E99-4882-A7D9-FFE542ECA33F}" destId="{84CC0AA7-2771-4CD7-AD1D-C34B4E0BDFB3}" srcOrd="5" destOrd="0" presId="urn:microsoft.com/office/officeart/2005/8/layout/vList5"/>
    <dgm:cxn modelId="{20B05DF3-34BF-4AAB-BCB5-2BEE5751E4A4}" type="presParOf" srcId="{C29E30CC-1E99-4882-A7D9-FFE542ECA33F}" destId="{1DA47741-03EC-409B-A1A5-6A9B2FCB5B11}" srcOrd="6" destOrd="0" presId="urn:microsoft.com/office/officeart/2005/8/layout/vList5"/>
    <dgm:cxn modelId="{2A90192C-4309-4038-A3E8-F21368E1E524}" type="presParOf" srcId="{1DA47741-03EC-409B-A1A5-6A9B2FCB5B11}" destId="{8676FA5C-FA27-4296-8442-63814231789C}" srcOrd="0" destOrd="0" presId="urn:microsoft.com/office/officeart/2005/8/layout/vList5"/>
    <dgm:cxn modelId="{FEF4583E-67EE-4D9C-8CF2-F3CAC4182EB4}" type="presParOf" srcId="{1DA47741-03EC-409B-A1A5-6A9B2FCB5B11}" destId="{6D0BF1A2-C3DB-4A96-AD54-D21D08BD4B2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BCD35BF-F9D8-4E98-A0BD-61458FBC85B1}"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E464D81B-C285-4CD3-BD40-18600D601C23}">
      <dgm:prSet/>
      <dgm:spPr/>
      <dgm:t>
        <a:bodyPr/>
        <a:lstStyle/>
        <a:p>
          <a:pPr algn="ctr"/>
          <a:r>
            <a:rPr lang="en-US" baseline="0" dirty="0"/>
            <a:t>Requires that SQL statements match exactly</a:t>
          </a:r>
          <a:endParaRPr lang="en-US" dirty="0"/>
        </a:p>
      </dgm:t>
    </dgm:pt>
    <dgm:pt modelId="{9D70155A-7735-41CD-8BF8-AE57B6884612}" type="parTrans" cxnId="{75286957-D1E4-4FB9-BDE6-E1E97D08D5B3}">
      <dgm:prSet/>
      <dgm:spPr/>
      <dgm:t>
        <a:bodyPr/>
        <a:lstStyle/>
        <a:p>
          <a:endParaRPr lang="en-US"/>
        </a:p>
      </dgm:t>
    </dgm:pt>
    <dgm:pt modelId="{5CB6AD22-2F50-4011-8DE6-CAB139911129}" type="sibTrans" cxnId="{75286957-D1E4-4FB9-BDE6-E1E97D08D5B3}">
      <dgm:prSet/>
      <dgm:spPr/>
      <dgm:t>
        <a:bodyPr/>
        <a:lstStyle/>
        <a:p>
          <a:endParaRPr lang="en-US"/>
        </a:p>
      </dgm:t>
    </dgm:pt>
    <dgm:pt modelId="{74D5A0B7-91FD-43FF-BD1D-98BF2B5EA408}">
      <dgm:prSet/>
      <dgm:spPr/>
      <dgm:t>
        <a:bodyPr/>
        <a:lstStyle/>
        <a:p>
          <a:r>
            <a:rPr lang="en-US" u="sng" baseline="0" dirty="0"/>
            <a:t>Any</a:t>
          </a:r>
          <a:r>
            <a:rPr lang="en-US" baseline="0" dirty="0"/>
            <a:t> difference in casing, white space or literal values will affect a hashed value</a:t>
          </a:r>
          <a:endParaRPr lang="en-US" dirty="0"/>
        </a:p>
      </dgm:t>
    </dgm:pt>
    <dgm:pt modelId="{0A934204-652D-4555-97BA-7407613F4D2E}" type="parTrans" cxnId="{DB2C2E84-A62F-4479-9DA9-ED235A39E5C3}">
      <dgm:prSet/>
      <dgm:spPr/>
      <dgm:t>
        <a:bodyPr/>
        <a:lstStyle/>
        <a:p>
          <a:endParaRPr lang="en-US"/>
        </a:p>
      </dgm:t>
    </dgm:pt>
    <dgm:pt modelId="{711141CB-3BAD-470D-8330-801EEE241662}" type="sibTrans" cxnId="{DB2C2E84-A62F-4479-9DA9-ED235A39E5C3}">
      <dgm:prSet/>
      <dgm:spPr/>
      <dgm:t>
        <a:bodyPr/>
        <a:lstStyle/>
        <a:p>
          <a:endParaRPr lang="en-US"/>
        </a:p>
      </dgm:t>
    </dgm:pt>
    <dgm:pt modelId="{2CCBD4EB-E76D-4F4F-ABBB-E4489EDEF2BE}">
      <dgm:prSet/>
      <dgm:spPr/>
      <dgm:t>
        <a:bodyPr/>
        <a:lstStyle/>
        <a:p>
          <a:r>
            <a:rPr lang="en-US" baseline="0" dirty="0"/>
            <a:t>Less likely for </a:t>
          </a:r>
          <a:r>
            <a:rPr lang="en-US" i="1" baseline="0" dirty="0"/>
            <a:t>ad hoc </a:t>
          </a:r>
          <a:r>
            <a:rPr lang="en-US" baseline="0" dirty="0"/>
            <a:t>SQL statements</a:t>
          </a:r>
          <a:endParaRPr lang="en-US" dirty="0"/>
        </a:p>
      </dgm:t>
    </dgm:pt>
    <dgm:pt modelId="{B27A3923-093A-43F1-8911-00F4375B814E}" type="parTrans" cxnId="{5074666C-2790-4BEB-97B8-BBF05C393296}">
      <dgm:prSet/>
      <dgm:spPr/>
      <dgm:t>
        <a:bodyPr/>
        <a:lstStyle/>
        <a:p>
          <a:endParaRPr lang="en-US"/>
        </a:p>
      </dgm:t>
    </dgm:pt>
    <dgm:pt modelId="{03230513-2199-46BE-ABEB-26CD814EFA1B}" type="sibTrans" cxnId="{5074666C-2790-4BEB-97B8-BBF05C393296}">
      <dgm:prSet/>
      <dgm:spPr/>
      <dgm:t>
        <a:bodyPr/>
        <a:lstStyle/>
        <a:p>
          <a:endParaRPr lang="en-US"/>
        </a:p>
      </dgm:t>
    </dgm:pt>
    <dgm:pt modelId="{219AE4C6-5776-496C-B804-F1CCAC76320A}">
      <dgm:prSet/>
      <dgm:spPr/>
      <dgm:t>
        <a:bodyPr/>
        <a:lstStyle/>
        <a:p>
          <a:r>
            <a:rPr lang="en-US" baseline="0" dirty="0"/>
            <a:t>Simple (on by default) or Forced Parameterization can improve reuse</a:t>
          </a:r>
          <a:endParaRPr lang="en-US" dirty="0"/>
        </a:p>
      </dgm:t>
    </dgm:pt>
    <dgm:pt modelId="{D2171FFD-BF55-4538-A269-4874418890AF}" type="parTrans" cxnId="{94F8171F-DA48-4F73-9E64-693ECE06E8EF}">
      <dgm:prSet/>
      <dgm:spPr/>
      <dgm:t>
        <a:bodyPr/>
        <a:lstStyle/>
        <a:p>
          <a:endParaRPr lang="en-US"/>
        </a:p>
      </dgm:t>
    </dgm:pt>
    <dgm:pt modelId="{39E8E2C7-0876-401C-9242-993ED9AE26C7}" type="sibTrans" cxnId="{94F8171F-DA48-4F73-9E64-693ECE06E8EF}">
      <dgm:prSet/>
      <dgm:spPr/>
      <dgm:t>
        <a:bodyPr/>
        <a:lstStyle/>
        <a:p>
          <a:endParaRPr lang="en-US"/>
        </a:p>
      </dgm:t>
    </dgm:pt>
    <dgm:pt modelId="{F4AA763C-68F1-4722-BA14-36BD3F446C4B}">
      <dgm:prSet/>
      <dgm:spPr/>
      <dgm:t>
        <a:bodyPr/>
        <a:lstStyle/>
        <a:p>
          <a:r>
            <a:rPr lang="en-US" baseline="0" dirty="0"/>
            <a:t>Most easily achieved using:</a:t>
          </a:r>
          <a:endParaRPr lang="en-US" dirty="0"/>
        </a:p>
      </dgm:t>
    </dgm:pt>
    <dgm:pt modelId="{7B65FF97-5662-48F3-8493-FFC496799833}" type="parTrans" cxnId="{94438674-1B33-4BB3-85F9-9B3BCF231050}">
      <dgm:prSet/>
      <dgm:spPr/>
      <dgm:t>
        <a:bodyPr/>
        <a:lstStyle/>
        <a:p>
          <a:endParaRPr lang="en-US"/>
        </a:p>
      </dgm:t>
    </dgm:pt>
    <dgm:pt modelId="{47798103-3269-47CD-BE12-9C12CCD463D5}" type="sibTrans" cxnId="{94438674-1B33-4BB3-85F9-9B3BCF231050}">
      <dgm:prSet/>
      <dgm:spPr/>
      <dgm:t>
        <a:bodyPr/>
        <a:lstStyle/>
        <a:p>
          <a:endParaRPr lang="en-US"/>
        </a:p>
      </dgm:t>
    </dgm:pt>
    <dgm:pt modelId="{479E4B0C-8841-4FA2-9B6A-1015836F3DB3}">
      <dgm:prSet/>
      <dgm:spPr/>
      <dgm:t>
        <a:bodyPr/>
        <a:lstStyle/>
        <a:p>
          <a:r>
            <a:rPr lang="en-US" baseline="0" dirty="0"/>
            <a:t>Stored procedures, Functions, Triggers</a:t>
          </a:r>
          <a:endParaRPr lang="en-US" dirty="0"/>
        </a:p>
      </dgm:t>
    </dgm:pt>
    <dgm:pt modelId="{25DD104A-A682-4E87-861B-77905F0EC766}" type="parTrans" cxnId="{EE4ADCCF-BE51-4FB4-AB7B-07BB82461D2E}">
      <dgm:prSet/>
      <dgm:spPr/>
      <dgm:t>
        <a:bodyPr/>
        <a:lstStyle/>
        <a:p>
          <a:endParaRPr lang="en-US"/>
        </a:p>
      </dgm:t>
    </dgm:pt>
    <dgm:pt modelId="{1C6088AE-8751-4B95-BBE7-7D032F63D585}" type="sibTrans" cxnId="{EE4ADCCF-BE51-4FB4-AB7B-07BB82461D2E}">
      <dgm:prSet/>
      <dgm:spPr/>
      <dgm:t>
        <a:bodyPr/>
        <a:lstStyle/>
        <a:p>
          <a:endParaRPr lang="en-US"/>
        </a:p>
      </dgm:t>
    </dgm:pt>
    <dgm:pt modelId="{F697A509-115F-423C-B3FC-65D7F9DD732B}">
      <dgm:prSet/>
      <dgm:spPr/>
      <dgm:t>
        <a:bodyPr/>
        <a:lstStyle/>
        <a:p>
          <a:r>
            <a:rPr lang="en-US" baseline="0" dirty="0"/>
            <a:t>Prepared statements and parameterized queries (sp_executesql)</a:t>
          </a:r>
          <a:endParaRPr lang="en-US" dirty="0"/>
        </a:p>
      </dgm:t>
    </dgm:pt>
    <dgm:pt modelId="{427B56EE-6175-4D06-A289-690A414C163A}" type="parTrans" cxnId="{5B29CB74-26F6-4066-ACA5-ED62C61217A8}">
      <dgm:prSet/>
      <dgm:spPr/>
      <dgm:t>
        <a:bodyPr/>
        <a:lstStyle/>
        <a:p>
          <a:endParaRPr lang="en-US"/>
        </a:p>
      </dgm:t>
    </dgm:pt>
    <dgm:pt modelId="{6E2D495B-8840-4C15-B42F-EB9A089F62C8}" type="sibTrans" cxnId="{5B29CB74-26F6-4066-ACA5-ED62C61217A8}">
      <dgm:prSet/>
      <dgm:spPr/>
      <dgm:t>
        <a:bodyPr/>
        <a:lstStyle/>
        <a:p>
          <a:endParaRPr lang="en-US"/>
        </a:p>
      </dgm:t>
    </dgm:pt>
    <dgm:pt modelId="{1C21C51A-CD0B-4019-A3EE-02D1611CBF27}" type="pres">
      <dgm:prSet presAssocID="{6BCD35BF-F9D8-4E98-A0BD-61458FBC85B1}" presName="Name0" presStyleCnt="0">
        <dgm:presLayoutVars>
          <dgm:dir/>
          <dgm:animLvl val="lvl"/>
          <dgm:resizeHandles val="exact"/>
        </dgm:presLayoutVars>
      </dgm:prSet>
      <dgm:spPr/>
    </dgm:pt>
    <dgm:pt modelId="{92526606-A55C-4330-8D2D-540FBC25CF6A}" type="pres">
      <dgm:prSet presAssocID="{E464D81B-C285-4CD3-BD40-18600D601C23}" presName="linNode" presStyleCnt="0"/>
      <dgm:spPr/>
    </dgm:pt>
    <dgm:pt modelId="{921C66B1-F72E-469E-A1A5-766BFD69EE6E}" type="pres">
      <dgm:prSet presAssocID="{E464D81B-C285-4CD3-BD40-18600D601C23}" presName="parentText" presStyleLbl="node1" presStyleIdx="0" presStyleCnt="3">
        <dgm:presLayoutVars>
          <dgm:chMax val="1"/>
          <dgm:bulletEnabled val="1"/>
        </dgm:presLayoutVars>
      </dgm:prSet>
      <dgm:spPr/>
    </dgm:pt>
    <dgm:pt modelId="{63344A51-086C-4132-8DCA-8D11584234C5}" type="pres">
      <dgm:prSet presAssocID="{E464D81B-C285-4CD3-BD40-18600D601C23}" presName="descendantText" presStyleLbl="alignAccFollowNode1" presStyleIdx="0" presStyleCnt="3">
        <dgm:presLayoutVars>
          <dgm:bulletEnabled val="1"/>
        </dgm:presLayoutVars>
      </dgm:prSet>
      <dgm:spPr/>
    </dgm:pt>
    <dgm:pt modelId="{38D6E590-CB5A-4B12-8FC1-FDA3FEB8AFDC}" type="pres">
      <dgm:prSet presAssocID="{5CB6AD22-2F50-4011-8DE6-CAB139911129}" presName="sp" presStyleCnt="0"/>
      <dgm:spPr/>
    </dgm:pt>
    <dgm:pt modelId="{2419A0CB-4379-49C3-AAEA-AF5355613E0C}" type="pres">
      <dgm:prSet presAssocID="{2CCBD4EB-E76D-4F4F-ABBB-E4489EDEF2BE}" presName="linNode" presStyleCnt="0"/>
      <dgm:spPr/>
    </dgm:pt>
    <dgm:pt modelId="{39CC2B3E-3196-4D9F-86CF-8A88B8AB8052}" type="pres">
      <dgm:prSet presAssocID="{2CCBD4EB-E76D-4F4F-ABBB-E4489EDEF2BE}" presName="parentText" presStyleLbl="node1" presStyleIdx="1" presStyleCnt="3">
        <dgm:presLayoutVars>
          <dgm:chMax val="1"/>
          <dgm:bulletEnabled val="1"/>
        </dgm:presLayoutVars>
      </dgm:prSet>
      <dgm:spPr/>
    </dgm:pt>
    <dgm:pt modelId="{FDA009E2-0319-432B-9F31-DFFAAEDD8B20}" type="pres">
      <dgm:prSet presAssocID="{2CCBD4EB-E76D-4F4F-ABBB-E4489EDEF2BE}" presName="descendantText" presStyleLbl="alignAccFollowNode1" presStyleIdx="1" presStyleCnt="3">
        <dgm:presLayoutVars>
          <dgm:bulletEnabled val="1"/>
        </dgm:presLayoutVars>
      </dgm:prSet>
      <dgm:spPr/>
    </dgm:pt>
    <dgm:pt modelId="{BE64C098-D87A-4DAC-AB9E-983D2DBF06A7}" type="pres">
      <dgm:prSet presAssocID="{03230513-2199-46BE-ABEB-26CD814EFA1B}" presName="sp" presStyleCnt="0"/>
      <dgm:spPr/>
    </dgm:pt>
    <dgm:pt modelId="{13743FC8-A7E6-41E6-9355-444507C4FCD3}" type="pres">
      <dgm:prSet presAssocID="{F4AA763C-68F1-4722-BA14-36BD3F446C4B}" presName="linNode" presStyleCnt="0"/>
      <dgm:spPr/>
    </dgm:pt>
    <dgm:pt modelId="{CC07D088-4892-4E5C-8123-1ABF1BF7BA81}" type="pres">
      <dgm:prSet presAssocID="{F4AA763C-68F1-4722-BA14-36BD3F446C4B}" presName="parentText" presStyleLbl="node1" presStyleIdx="2" presStyleCnt="3">
        <dgm:presLayoutVars>
          <dgm:chMax val="1"/>
          <dgm:bulletEnabled val="1"/>
        </dgm:presLayoutVars>
      </dgm:prSet>
      <dgm:spPr/>
    </dgm:pt>
    <dgm:pt modelId="{DBDF4D6F-4375-4583-A571-22E5E09D9615}" type="pres">
      <dgm:prSet presAssocID="{F4AA763C-68F1-4722-BA14-36BD3F446C4B}" presName="descendantText" presStyleLbl="alignAccFollowNode1" presStyleIdx="2" presStyleCnt="3">
        <dgm:presLayoutVars>
          <dgm:bulletEnabled val="1"/>
        </dgm:presLayoutVars>
      </dgm:prSet>
      <dgm:spPr/>
    </dgm:pt>
  </dgm:ptLst>
  <dgm:cxnLst>
    <dgm:cxn modelId="{94F8171F-DA48-4F73-9E64-693ECE06E8EF}" srcId="{2CCBD4EB-E76D-4F4F-ABBB-E4489EDEF2BE}" destId="{219AE4C6-5776-496C-B804-F1CCAC76320A}" srcOrd="0" destOrd="0" parTransId="{D2171FFD-BF55-4538-A269-4874418890AF}" sibTransId="{39E8E2C7-0876-401C-9242-993ED9AE26C7}"/>
    <dgm:cxn modelId="{FD3D1824-07B2-4252-8E49-DBB5F21196B8}" type="presOf" srcId="{219AE4C6-5776-496C-B804-F1CCAC76320A}" destId="{FDA009E2-0319-432B-9F31-DFFAAEDD8B20}" srcOrd="0" destOrd="0" presId="urn:microsoft.com/office/officeart/2005/8/layout/vList5"/>
    <dgm:cxn modelId="{10AFAC26-4D58-4CE8-914B-BA3CF09253E5}" type="presOf" srcId="{F697A509-115F-423C-B3FC-65D7F9DD732B}" destId="{DBDF4D6F-4375-4583-A571-22E5E09D9615}" srcOrd="0" destOrd="1" presId="urn:microsoft.com/office/officeart/2005/8/layout/vList5"/>
    <dgm:cxn modelId="{5074666C-2790-4BEB-97B8-BBF05C393296}" srcId="{6BCD35BF-F9D8-4E98-A0BD-61458FBC85B1}" destId="{2CCBD4EB-E76D-4F4F-ABBB-E4489EDEF2BE}" srcOrd="1" destOrd="0" parTransId="{B27A3923-093A-43F1-8911-00F4375B814E}" sibTransId="{03230513-2199-46BE-ABEB-26CD814EFA1B}"/>
    <dgm:cxn modelId="{94438674-1B33-4BB3-85F9-9B3BCF231050}" srcId="{6BCD35BF-F9D8-4E98-A0BD-61458FBC85B1}" destId="{F4AA763C-68F1-4722-BA14-36BD3F446C4B}" srcOrd="2" destOrd="0" parTransId="{7B65FF97-5662-48F3-8493-FFC496799833}" sibTransId="{47798103-3269-47CD-BE12-9C12CCD463D5}"/>
    <dgm:cxn modelId="{5B29CB74-26F6-4066-ACA5-ED62C61217A8}" srcId="{F4AA763C-68F1-4722-BA14-36BD3F446C4B}" destId="{F697A509-115F-423C-B3FC-65D7F9DD732B}" srcOrd="1" destOrd="0" parTransId="{427B56EE-6175-4D06-A289-690A414C163A}" sibTransId="{6E2D495B-8840-4C15-B42F-EB9A089F62C8}"/>
    <dgm:cxn modelId="{75286957-D1E4-4FB9-BDE6-E1E97D08D5B3}" srcId="{6BCD35BF-F9D8-4E98-A0BD-61458FBC85B1}" destId="{E464D81B-C285-4CD3-BD40-18600D601C23}" srcOrd="0" destOrd="0" parTransId="{9D70155A-7735-41CD-8BF8-AE57B6884612}" sibTransId="{5CB6AD22-2F50-4011-8DE6-CAB139911129}"/>
    <dgm:cxn modelId="{DB2C2E84-A62F-4479-9DA9-ED235A39E5C3}" srcId="{E464D81B-C285-4CD3-BD40-18600D601C23}" destId="{74D5A0B7-91FD-43FF-BD1D-98BF2B5EA408}" srcOrd="0" destOrd="0" parTransId="{0A934204-652D-4555-97BA-7407613F4D2E}" sibTransId="{711141CB-3BAD-470D-8330-801EEE241662}"/>
    <dgm:cxn modelId="{A724DC98-01A1-40FE-BEC0-41EE02CC3C1B}" type="presOf" srcId="{2CCBD4EB-E76D-4F4F-ABBB-E4489EDEF2BE}" destId="{39CC2B3E-3196-4D9F-86CF-8A88B8AB8052}" srcOrd="0" destOrd="0" presId="urn:microsoft.com/office/officeart/2005/8/layout/vList5"/>
    <dgm:cxn modelId="{0D1FBFB8-6DC0-4D7B-8C16-A1A6956FEFD2}" type="presOf" srcId="{E464D81B-C285-4CD3-BD40-18600D601C23}" destId="{921C66B1-F72E-469E-A1A5-766BFD69EE6E}" srcOrd="0" destOrd="0" presId="urn:microsoft.com/office/officeart/2005/8/layout/vList5"/>
    <dgm:cxn modelId="{C00E21C2-4A00-4941-BE86-A5E099E90C4C}" type="presOf" srcId="{6BCD35BF-F9D8-4E98-A0BD-61458FBC85B1}" destId="{1C21C51A-CD0B-4019-A3EE-02D1611CBF27}" srcOrd="0" destOrd="0" presId="urn:microsoft.com/office/officeart/2005/8/layout/vList5"/>
    <dgm:cxn modelId="{EE4ADCCF-BE51-4FB4-AB7B-07BB82461D2E}" srcId="{F4AA763C-68F1-4722-BA14-36BD3F446C4B}" destId="{479E4B0C-8841-4FA2-9B6A-1015836F3DB3}" srcOrd="0" destOrd="0" parTransId="{25DD104A-A682-4E87-861B-77905F0EC766}" sibTransId="{1C6088AE-8751-4B95-BBE7-7D032F63D585}"/>
    <dgm:cxn modelId="{EBB91FD2-131B-4EE8-BC2C-D1C45AEB8B4B}" type="presOf" srcId="{479E4B0C-8841-4FA2-9B6A-1015836F3DB3}" destId="{DBDF4D6F-4375-4583-A571-22E5E09D9615}" srcOrd="0" destOrd="0" presId="urn:microsoft.com/office/officeart/2005/8/layout/vList5"/>
    <dgm:cxn modelId="{6C65B8D7-6CEB-403A-A0CC-67347B8334C4}" type="presOf" srcId="{F4AA763C-68F1-4722-BA14-36BD3F446C4B}" destId="{CC07D088-4892-4E5C-8123-1ABF1BF7BA81}" srcOrd="0" destOrd="0" presId="urn:microsoft.com/office/officeart/2005/8/layout/vList5"/>
    <dgm:cxn modelId="{F264EFF1-B455-4875-8B53-BA313C30C545}" type="presOf" srcId="{74D5A0B7-91FD-43FF-BD1D-98BF2B5EA408}" destId="{63344A51-086C-4132-8DCA-8D11584234C5}" srcOrd="0" destOrd="0" presId="urn:microsoft.com/office/officeart/2005/8/layout/vList5"/>
    <dgm:cxn modelId="{065DE7F4-A40C-4D7A-8E1F-531BE43E15DA}" type="presParOf" srcId="{1C21C51A-CD0B-4019-A3EE-02D1611CBF27}" destId="{92526606-A55C-4330-8D2D-540FBC25CF6A}" srcOrd="0" destOrd="0" presId="urn:microsoft.com/office/officeart/2005/8/layout/vList5"/>
    <dgm:cxn modelId="{AF7631B4-0DA2-412C-809A-21E05CF3120B}" type="presParOf" srcId="{92526606-A55C-4330-8D2D-540FBC25CF6A}" destId="{921C66B1-F72E-469E-A1A5-766BFD69EE6E}" srcOrd="0" destOrd="0" presId="urn:microsoft.com/office/officeart/2005/8/layout/vList5"/>
    <dgm:cxn modelId="{6F8B3AF8-AE08-4690-BF5D-560230F74E1E}" type="presParOf" srcId="{92526606-A55C-4330-8D2D-540FBC25CF6A}" destId="{63344A51-086C-4132-8DCA-8D11584234C5}" srcOrd="1" destOrd="0" presId="urn:microsoft.com/office/officeart/2005/8/layout/vList5"/>
    <dgm:cxn modelId="{DB47DFDC-D638-4DCA-8AF9-2F2BD9434F71}" type="presParOf" srcId="{1C21C51A-CD0B-4019-A3EE-02D1611CBF27}" destId="{38D6E590-CB5A-4B12-8FC1-FDA3FEB8AFDC}" srcOrd="1" destOrd="0" presId="urn:microsoft.com/office/officeart/2005/8/layout/vList5"/>
    <dgm:cxn modelId="{0D6FF5AF-24CB-4CD5-BC39-6244114BB3D7}" type="presParOf" srcId="{1C21C51A-CD0B-4019-A3EE-02D1611CBF27}" destId="{2419A0CB-4379-49C3-AAEA-AF5355613E0C}" srcOrd="2" destOrd="0" presId="urn:microsoft.com/office/officeart/2005/8/layout/vList5"/>
    <dgm:cxn modelId="{578C6F90-7591-422C-909E-D23838BDB8DB}" type="presParOf" srcId="{2419A0CB-4379-49C3-AAEA-AF5355613E0C}" destId="{39CC2B3E-3196-4D9F-86CF-8A88B8AB8052}" srcOrd="0" destOrd="0" presId="urn:microsoft.com/office/officeart/2005/8/layout/vList5"/>
    <dgm:cxn modelId="{BDB2DE19-F3C3-424E-92CD-5D640ED16B4F}" type="presParOf" srcId="{2419A0CB-4379-49C3-AAEA-AF5355613E0C}" destId="{FDA009E2-0319-432B-9F31-DFFAAEDD8B20}" srcOrd="1" destOrd="0" presId="urn:microsoft.com/office/officeart/2005/8/layout/vList5"/>
    <dgm:cxn modelId="{1157DA3B-54EE-43F9-A55B-43AA91CD21CA}" type="presParOf" srcId="{1C21C51A-CD0B-4019-A3EE-02D1611CBF27}" destId="{BE64C098-D87A-4DAC-AB9E-983D2DBF06A7}" srcOrd="3" destOrd="0" presId="urn:microsoft.com/office/officeart/2005/8/layout/vList5"/>
    <dgm:cxn modelId="{47C97985-E187-48E4-BEEB-292F4143CA22}" type="presParOf" srcId="{1C21C51A-CD0B-4019-A3EE-02D1611CBF27}" destId="{13743FC8-A7E6-41E6-9355-444507C4FCD3}" srcOrd="4" destOrd="0" presId="urn:microsoft.com/office/officeart/2005/8/layout/vList5"/>
    <dgm:cxn modelId="{EEF590F0-DC5E-4066-953E-3C2580221619}" type="presParOf" srcId="{13743FC8-A7E6-41E6-9355-444507C4FCD3}" destId="{CC07D088-4892-4E5C-8123-1ABF1BF7BA81}" srcOrd="0" destOrd="0" presId="urn:microsoft.com/office/officeart/2005/8/layout/vList5"/>
    <dgm:cxn modelId="{04ED0477-AB5C-4326-9234-0A7EEC86A87D}" type="presParOf" srcId="{13743FC8-A7E6-41E6-9355-444507C4FCD3}" destId="{DBDF4D6F-4375-4583-A571-22E5E09D961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DD2BDE-B2EC-47CA-A973-8EEA2AAF8040}">
      <dsp:nvSpPr>
        <dsp:cNvPr id="0" name=""/>
        <dsp:cNvSpPr/>
      </dsp:nvSpPr>
      <dsp:spPr>
        <a:xfrm>
          <a:off x="0" y="44070"/>
          <a:ext cx="10880726" cy="6949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A pool of memory used to store query execution plans</a:t>
          </a:r>
          <a:endParaRPr lang="en-US" sz="2700" kern="1200" dirty="0"/>
        </a:p>
      </dsp:txBody>
      <dsp:txXfrm>
        <a:off x="33926" y="77996"/>
        <a:ext cx="10812874" cy="627128"/>
      </dsp:txXfrm>
    </dsp:sp>
    <dsp:sp modelId="{4ABB565F-2368-4EC2-BC8B-1EFFACA85D9B}">
      <dsp:nvSpPr>
        <dsp:cNvPr id="0" name=""/>
        <dsp:cNvSpPr/>
      </dsp:nvSpPr>
      <dsp:spPr>
        <a:xfrm>
          <a:off x="0" y="816810"/>
          <a:ext cx="10880726" cy="694980"/>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Used by a</a:t>
          </a:r>
          <a:r>
            <a:rPr lang="en-US" sz="2700" kern="1200" baseline="0" dirty="0"/>
            <a:t>ll databases in a SQL Server instance</a:t>
          </a:r>
          <a:endParaRPr lang="en-US" sz="2700" kern="1200" dirty="0"/>
        </a:p>
      </dsp:txBody>
      <dsp:txXfrm>
        <a:off x="33926" y="850736"/>
        <a:ext cx="10812874" cy="627128"/>
      </dsp:txXfrm>
    </dsp:sp>
    <dsp:sp modelId="{5F9F3BA5-18FC-4D9C-9847-C2707B579669}">
      <dsp:nvSpPr>
        <dsp:cNvPr id="0" name=""/>
        <dsp:cNvSpPr/>
      </dsp:nvSpPr>
      <dsp:spPr>
        <a:xfrm>
          <a:off x="0" y="1589550"/>
          <a:ext cx="10880726" cy="69498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Exists to a</a:t>
          </a:r>
          <a:r>
            <a:rPr lang="en-US" sz="2700" kern="1200" baseline="0" dirty="0"/>
            <a:t>void repeated optimization and compilation</a:t>
          </a:r>
          <a:endParaRPr lang="en-US" sz="2700" kern="1200" dirty="0"/>
        </a:p>
      </dsp:txBody>
      <dsp:txXfrm>
        <a:off x="33926" y="1623476"/>
        <a:ext cx="10812874" cy="627128"/>
      </dsp:txXfrm>
    </dsp:sp>
    <dsp:sp modelId="{DD1AFBFE-2110-4945-A824-79A8A07F70E2}">
      <dsp:nvSpPr>
        <dsp:cNvPr id="0" name=""/>
        <dsp:cNvSpPr/>
      </dsp:nvSpPr>
      <dsp:spPr>
        <a:xfrm>
          <a:off x="0" y="2362290"/>
          <a:ext cx="10880726" cy="694980"/>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Reuse of reduce optimization and compilation costs</a:t>
          </a:r>
          <a:endParaRPr lang="en-US" sz="2700" kern="1200" dirty="0"/>
        </a:p>
      </dsp:txBody>
      <dsp:txXfrm>
        <a:off x="33926" y="2396216"/>
        <a:ext cx="10812874" cy="627128"/>
      </dsp:txXfrm>
    </dsp:sp>
    <dsp:sp modelId="{78E01664-1A39-4D3E-A01C-C8D5235F5F8F}">
      <dsp:nvSpPr>
        <dsp:cNvPr id="0" name=""/>
        <dsp:cNvSpPr/>
      </dsp:nvSpPr>
      <dsp:spPr>
        <a:xfrm>
          <a:off x="0" y="3135030"/>
          <a:ext cx="10880726" cy="69498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Size and contents </a:t>
          </a:r>
          <a:r>
            <a:rPr lang="en-US" sz="2700" kern="1200" baseline="0" dirty="0"/>
            <a:t>vary over time.</a:t>
          </a:r>
          <a:endParaRPr lang="en-US" sz="2700" kern="1200" dirty="0"/>
        </a:p>
      </dsp:txBody>
      <dsp:txXfrm>
        <a:off x="33926" y="3168956"/>
        <a:ext cx="10812874" cy="62712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A2300-0902-41CF-8DE3-EF1333A19D2A}">
      <dsp:nvSpPr>
        <dsp:cNvPr id="0" name=""/>
        <dsp:cNvSpPr/>
      </dsp:nvSpPr>
      <dsp:spPr>
        <a:xfrm>
          <a:off x="53" y="541"/>
          <a:ext cx="5084401" cy="6624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Benefit</a:t>
          </a:r>
        </a:p>
      </dsp:txBody>
      <dsp:txXfrm>
        <a:off x="53" y="541"/>
        <a:ext cx="5084401" cy="662400"/>
      </dsp:txXfrm>
    </dsp:sp>
    <dsp:sp modelId="{BAD13D12-81A5-4696-8F90-2CDFECF2217D}">
      <dsp:nvSpPr>
        <dsp:cNvPr id="0" name=""/>
        <dsp:cNvSpPr/>
      </dsp:nvSpPr>
      <dsp:spPr>
        <a:xfrm>
          <a:off x="53" y="662941"/>
          <a:ext cx="5084401" cy="1357402"/>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baseline="0" dirty="0"/>
            <a:t>Improved performance as reuse saves time and CPU</a:t>
          </a:r>
          <a:endParaRPr lang="en-US" sz="2200" kern="1200" dirty="0"/>
        </a:p>
      </dsp:txBody>
      <dsp:txXfrm>
        <a:off x="53" y="662941"/>
        <a:ext cx="5084401" cy="1357402"/>
      </dsp:txXfrm>
    </dsp:sp>
    <dsp:sp modelId="{00C82F43-D0EC-4416-9542-381A0C09BD27}">
      <dsp:nvSpPr>
        <dsp:cNvPr id="0" name=""/>
        <dsp:cNvSpPr/>
      </dsp:nvSpPr>
      <dsp:spPr>
        <a:xfrm>
          <a:off x="5796271" y="541"/>
          <a:ext cx="5084401" cy="6624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rawback</a:t>
          </a:r>
        </a:p>
      </dsp:txBody>
      <dsp:txXfrm>
        <a:off x="5796271" y="541"/>
        <a:ext cx="5084401" cy="662400"/>
      </dsp:txXfrm>
    </dsp:sp>
    <dsp:sp modelId="{2F8EF1CB-44EC-4B3D-B02F-AB0D218C0B47}">
      <dsp:nvSpPr>
        <dsp:cNvPr id="0" name=""/>
        <dsp:cNvSpPr/>
      </dsp:nvSpPr>
      <dsp:spPr>
        <a:xfrm>
          <a:off x="5796271" y="662941"/>
          <a:ext cx="5084401" cy="1357402"/>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Degraded performance when reused plan is not optimal for all parameter values</a:t>
          </a:r>
          <a:endParaRPr lang="en-US" sz="2300" kern="1200" dirty="0"/>
        </a:p>
      </dsp:txBody>
      <dsp:txXfrm>
        <a:off x="5796271" y="662941"/>
        <a:ext cx="5084401" cy="135740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E681C0-A19D-42B4-9C8C-3286F68DB5FB}">
      <dsp:nvSpPr>
        <dsp:cNvPr id="0" name=""/>
        <dsp:cNvSpPr/>
      </dsp:nvSpPr>
      <dsp:spPr>
        <a:xfrm>
          <a:off x="46053" y="0"/>
          <a:ext cx="10788619" cy="3268932"/>
        </a:xfrm>
        <a:prstGeom prst="leftRightRibb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5C8ED6-EAE6-4CF5-AD1F-6474517BD6D5}">
      <dsp:nvSpPr>
        <dsp:cNvPr id="0" name=""/>
        <dsp:cNvSpPr/>
      </dsp:nvSpPr>
      <dsp:spPr>
        <a:xfrm>
          <a:off x="1801450" y="572063"/>
          <a:ext cx="3147272" cy="160177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3340" rIns="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dirty="0"/>
            <a:t>Parameter Sniffing</a:t>
          </a:r>
          <a:endParaRPr lang="en-US" sz="1500" kern="1200" dirty="0"/>
        </a:p>
        <a:p>
          <a:pPr marL="114300" lvl="1" indent="-114300" algn="l" defTabSz="533400" rtl="0">
            <a:lnSpc>
              <a:spcPct val="90000"/>
            </a:lnSpc>
            <a:spcBef>
              <a:spcPct val="0"/>
            </a:spcBef>
            <a:spcAft>
              <a:spcPct val="15000"/>
            </a:spcAft>
            <a:buChar char="•"/>
          </a:pPr>
          <a:r>
            <a:rPr lang="en-US" sz="1200" kern="1200" baseline="0" dirty="0"/>
            <a:t>Optimizer’s ability to see (sniff) parameter values at compile time and so create a cost-effective execution plan</a:t>
          </a:r>
          <a:r>
            <a:rPr lang="en-US" sz="1200" kern="1200" baseline="0" dirty="0">
              <a:latin typeface="Segoe UI Semibold"/>
            </a:rPr>
            <a:t>.  </a:t>
          </a:r>
          <a:endParaRPr lang="en-US" sz="1200" b="1" kern="1200" dirty="0"/>
        </a:p>
        <a:p>
          <a:pPr marL="114300" lvl="1" indent="-114300" algn="l" defTabSz="533400">
            <a:lnSpc>
              <a:spcPct val="90000"/>
            </a:lnSpc>
            <a:spcBef>
              <a:spcPct val="0"/>
            </a:spcBef>
            <a:spcAft>
              <a:spcPct val="15000"/>
            </a:spcAft>
            <a:buChar char="•"/>
          </a:pPr>
          <a:r>
            <a:rPr lang="en-US" sz="1200" b="0" kern="1200" baseline="0" dirty="0"/>
            <a:t>This is generally beneficial.</a:t>
          </a:r>
          <a:endParaRPr lang="en-US" sz="1200" b="0" kern="1200" dirty="0"/>
        </a:p>
        <a:p>
          <a:pPr marL="114300" lvl="1" indent="-114300" algn="l" defTabSz="533400">
            <a:lnSpc>
              <a:spcPct val="90000"/>
            </a:lnSpc>
            <a:spcBef>
              <a:spcPct val="0"/>
            </a:spcBef>
            <a:spcAft>
              <a:spcPct val="15000"/>
            </a:spcAft>
            <a:buChar char="•"/>
          </a:pPr>
          <a:r>
            <a:rPr lang="en-US" sz="1200" b="0" u="sng" kern="1200" dirty="0"/>
            <a:t>Only</a:t>
          </a:r>
          <a:r>
            <a:rPr lang="en-US" sz="1200" b="0" kern="1200" dirty="0"/>
            <a:t> p</a:t>
          </a:r>
          <a:r>
            <a:rPr lang="en-US" sz="1200" kern="1200" dirty="0"/>
            <a:t>roblematic when compile parameters aren’t representative</a:t>
          </a:r>
        </a:p>
      </dsp:txBody>
      <dsp:txXfrm>
        <a:off x="1801450" y="572063"/>
        <a:ext cx="3147272" cy="1601776"/>
      </dsp:txXfrm>
    </dsp:sp>
    <dsp:sp modelId="{B1F73455-BB74-4E53-B758-E009DED876F4}">
      <dsp:nvSpPr>
        <dsp:cNvPr id="0" name=""/>
        <dsp:cNvSpPr/>
      </dsp:nvSpPr>
      <dsp:spPr>
        <a:xfrm>
          <a:off x="5810955" y="1059933"/>
          <a:ext cx="3802244" cy="160177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3340" rIns="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dirty="0"/>
            <a:t>Recompile hints</a:t>
          </a:r>
          <a:endParaRPr lang="en-US" sz="1500" kern="1200" dirty="0"/>
        </a:p>
        <a:p>
          <a:pPr marL="114300" lvl="1" indent="-114300" algn="l" defTabSz="533400">
            <a:lnSpc>
              <a:spcPct val="90000"/>
            </a:lnSpc>
            <a:spcBef>
              <a:spcPct val="0"/>
            </a:spcBef>
            <a:spcAft>
              <a:spcPct val="15000"/>
            </a:spcAft>
            <a:buChar char="•"/>
          </a:pPr>
          <a:r>
            <a:rPr lang="en-US" sz="1200" kern="1200" baseline="0" dirty="0"/>
            <a:t>Prevent caching of plans at the object or statement (preferred) level</a:t>
          </a:r>
          <a:endParaRPr lang="en-US" sz="1200" kern="1200" dirty="0"/>
        </a:p>
        <a:p>
          <a:pPr marL="114300" lvl="1" indent="-114300" algn="l" defTabSz="533400">
            <a:lnSpc>
              <a:spcPct val="90000"/>
            </a:lnSpc>
            <a:spcBef>
              <a:spcPct val="0"/>
            </a:spcBef>
            <a:spcAft>
              <a:spcPct val="15000"/>
            </a:spcAft>
            <a:buChar char="•"/>
          </a:pPr>
          <a:r>
            <a:rPr lang="en-US" sz="1200" kern="1200" baseline="0" dirty="0"/>
            <a:t>sp_recompile &lt;object_name&gt; to manually force recompilation</a:t>
          </a:r>
          <a:endParaRPr lang="en-US" sz="1200" kern="1200" dirty="0"/>
        </a:p>
      </dsp:txBody>
      <dsp:txXfrm>
        <a:off x="5810955" y="1059933"/>
        <a:ext cx="3802244" cy="160177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144"/>
          <a:ext cx="10880725" cy="7113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s the size of the plan cache fixed?</a:t>
          </a:r>
        </a:p>
      </dsp:txBody>
      <dsp:txXfrm>
        <a:off x="34726" y="36870"/>
        <a:ext cx="10811273" cy="641908"/>
      </dsp:txXfrm>
    </dsp:sp>
    <dsp:sp modelId="{4A71D5C7-A7D6-46CE-B888-CF65241F6B98}">
      <dsp:nvSpPr>
        <dsp:cNvPr id="0" name=""/>
        <dsp:cNvSpPr/>
      </dsp:nvSpPr>
      <dsp:spPr>
        <a:xfrm>
          <a:off x="0" y="822944"/>
          <a:ext cx="10880725" cy="711360"/>
        </a:xfrm>
        <a:prstGeom prst="roundRect">
          <a:avLst/>
        </a:prstGeom>
        <a:solidFill>
          <a:schemeClr val="accent4">
            <a:hueOff val="-2476961"/>
            <a:satOff val="-20000"/>
            <a:lumOff val="1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How long do query plans remain in the plan cache?</a:t>
          </a:r>
        </a:p>
      </dsp:txBody>
      <dsp:txXfrm>
        <a:off x="34726" y="857670"/>
        <a:ext cx="10811273" cy="641908"/>
      </dsp:txXfrm>
    </dsp:sp>
    <dsp:sp modelId="{4CE6D622-6C4B-4912-A756-057BDFDF7259}">
      <dsp:nvSpPr>
        <dsp:cNvPr id="0" name=""/>
        <dsp:cNvSpPr/>
      </dsp:nvSpPr>
      <dsp:spPr>
        <a:xfrm>
          <a:off x="0" y="1643744"/>
          <a:ext cx="10880725" cy="711360"/>
        </a:xfrm>
        <a:prstGeom prst="roundRect">
          <a:avLst/>
        </a:prstGeom>
        <a:solidFill>
          <a:schemeClr val="accent4">
            <a:hueOff val="-4953922"/>
            <a:satOff val="-40000"/>
            <a:lumOff val="3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y is plan caching helpful?</a:t>
          </a:r>
        </a:p>
      </dsp:txBody>
      <dsp:txXfrm>
        <a:off x="34726" y="1678470"/>
        <a:ext cx="10811273" cy="641908"/>
      </dsp:txXfrm>
    </dsp:sp>
    <dsp:sp modelId="{0E5177C7-801D-471B-9850-4FD8DFBC4036}">
      <dsp:nvSpPr>
        <dsp:cNvPr id="0" name=""/>
        <dsp:cNvSpPr/>
      </dsp:nvSpPr>
      <dsp:spPr>
        <a:xfrm>
          <a:off x="0" y="2464544"/>
          <a:ext cx="10880725" cy="711360"/>
        </a:xfrm>
        <a:prstGeom prst="roundRect">
          <a:avLst/>
        </a:prstGeom>
        <a:solidFill>
          <a:schemeClr val="accent4">
            <a:hueOff val="-7430884"/>
            <a:satOff val="-60000"/>
            <a:lumOff val="5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y are </a:t>
          </a:r>
          <a:r>
            <a:rPr lang="en-US" sz="2400" i="1" kern="1200" dirty="0"/>
            <a:t>ad hoc </a:t>
          </a:r>
          <a:r>
            <a:rPr lang="en-US" sz="2400" kern="1200" dirty="0"/>
            <a:t>query plans sometimes problematic?</a:t>
          </a:r>
        </a:p>
      </dsp:txBody>
      <dsp:txXfrm>
        <a:off x="34726" y="2499270"/>
        <a:ext cx="10811273" cy="641908"/>
      </dsp:txXfrm>
    </dsp:sp>
    <dsp:sp modelId="{D5774165-7248-4210-ABDB-B3EBDE700FEB}">
      <dsp:nvSpPr>
        <dsp:cNvPr id="0" name=""/>
        <dsp:cNvSpPr/>
      </dsp:nvSpPr>
      <dsp:spPr>
        <a:xfrm>
          <a:off x="0" y="3285345"/>
          <a:ext cx="10880725" cy="711360"/>
        </a:xfrm>
        <a:prstGeom prst="roundRect">
          <a:avLst/>
        </a:prstGeom>
        <a:solidFill>
          <a:schemeClr val="accent4">
            <a:hueOff val="-9907844"/>
            <a:satOff val="-80000"/>
            <a:lumOff val="721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an be done to lessen the impact of an </a:t>
          </a:r>
          <a:r>
            <a:rPr lang="en-US" sz="2400" i="1" kern="1200" dirty="0"/>
            <a:t>ad hoc </a:t>
          </a:r>
          <a:r>
            <a:rPr lang="en-US" sz="2400" kern="1200" dirty="0"/>
            <a:t>workload?</a:t>
          </a:r>
        </a:p>
      </dsp:txBody>
      <dsp:txXfrm>
        <a:off x="34726" y="3320071"/>
        <a:ext cx="10811273" cy="641908"/>
      </dsp:txXfrm>
    </dsp:sp>
    <dsp:sp modelId="{196D8D5C-AF3C-4B3F-BC76-432EBE3C6399}">
      <dsp:nvSpPr>
        <dsp:cNvPr id="0" name=""/>
        <dsp:cNvSpPr/>
      </dsp:nvSpPr>
      <dsp:spPr>
        <a:xfrm>
          <a:off x="0" y="4106145"/>
          <a:ext cx="10880725" cy="711360"/>
        </a:xfrm>
        <a:prstGeom prst="roundRect">
          <a:avLst/>
        </a:prstGeom>
        <a:solidFill>
          <a:schemeClr val="accent4">
            <a:hueOff val="-12384805"/>
            <a:satOff val="-100000"/>
            <a:lumOff val="90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an be done to address a parameter sniffing issue?</a:t>
          </a:r>
        </a:p>
      </dsp:txBody>
      <dsp:txXfrm>
        <a:off x="34726" y="4140871"/>
        <a:ext cx="10811273" cy="64190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3C3109-A4B9-4C66-9825-7FC920D24281}">
      <dsp:nvSpPr>
        <dsp:cNvPr id="0" name=""/>
        <dsp:cNvSpPr/>
      </dsp:nvSpPr>
      <dsp:spPr>
        <a:xfrm>
          <a:off x="0" y="113420"/>
          <a:ext cx="5826760" cy="119047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Query Store is set at the database level</a:t>
          </a:r>
          <a:endParaRPr lang="en-US" sz="2000" kern="1200"/>
        </a:p>
      </dsp:txBody>
      <dsp:txXfrm>
        <a:off x="58114" y="171534"/>
        <a:ext cx="5710532" cy="1074247"/>
      </dsp:txXfrm>
    </dsp:sp>
    <dsp:sp modelId="{940AAA97-0AD4-43AE-8A9E-D67C5192BF98}">
      <dsp:nvSpPr>
        <dsp:cNvPr id="0" name=""/>
        <dsp:cNvSpPr/>
      </dsp:nvSpPr>
      <dsp:spPr>
        <a:xfrm>
          <a:off x="0" y="1361495"/>
          <a:ext cx="5826760" cy="1190475"/>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annot be used for Master or TempDB system databases but can be enabled for the Model and MSDB system databases. </a:t>
          </a:r>
          <a:endParaRPr lang="en-US" sz="2000" kern="1200"/>
        </a:p>
      </dsp:txBody>
      <dsp:txXfrm>
        <a:off x="58114" y="1419609"/>
        <a:ext cx="5710532" cy="1074247"/>
      </dsp:txXfrm>
    </dsp:sp>
    <dsp:sp modelId="{B405DF18-C403-4EF0-AEB4-ADB4779EBB5A}">
      <dsp:nvSpPr>
        <dsp:cNvPr id="0" name=""/>
        <dsp:cNvSpPr/>
      </dsp:nvSpPr>
      <dsp:spPr>
        <a:xfrm>
          <a:off x="0" y="2609570"/>
          <a:ext cx="5826760" cy="1190475"/>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The user database stores the data in internal tables that can be accessed by using built-in Query Store views.</a:t>
          </a:r>
          <a:endParaRPr lang="en-US" sz="2000" kern="1200"/>
        </a:p>
      </dsp:txBody>
      <dsp:txXfrm>
        <a:off x="58114" y="2667684"/>
        <a:ext cx="5710532" cy="1074247"/>
      </dsp:txXfrm>
    </dsp:sp>
    <dsp:sp modelId="{769C1E20-379B-47E6-908D-ECB246999F97}">
      <dsp:nvSpPr>
        <dsp:cNvPr id="0" name=""/>
        <dsp:cNvSpPr/>
      </dsp:nvSpPr>
      <dsp:spPr>
        <a:xfrm>
          <a:off x="0" y="3857645"/>
          <a:ext cx="5826760" cy="1190475"/>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GB" sz="2000" kern="1200" baseline="0"/>
            <a:t>SQL Server retains this data until the space allocated to Query Store is full or manually purged.</a:t>
          </a:r>
          <a:endParaRPr lang="en-US" sz="2000" kern="1200"/>
        </a:p>
      </dsp:txBody>
      <dsp:txXfrm>
        <a:off x="58114" y="3915759"/>
        <a:ext cx="5710532" cy="1074247"/>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79168E-09A7-4FC7-B2EB-4BF2B3280EEA}">
      <dsp:nvSpPr>
        <dsp:cNvPr id="0" name=""/>
        <dsp:cNvSpPr/>
      </dsp:nvSpPr>
      <dsp:spPr>
        <a:xfrm>
          <a:off x="54" y="8144"/>
          <a:ext cx="5233253" cy="7200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Before Query Store</a:t>
          </a:r>
          <a:endParaRPr lang="en-US" sz="2400" kern="1200" dirty="0"/>
        </a:p>
      </dsp:txBody>
      <dsp:txXfrm>
        <a:off x="54" y="8144"/>
        <a:ext cx="5233253" cy="720000"/>
      </dsp:txXfrm>
    </dsp:sp>
    <dsp:sp modelId="{AD82FA61-1850-4B59-B124-9E03954BAFF0}">
      <dsp:nvSpPr>
        <dsp:cNvPr id="0" name=""/>
        <dsp:cNvSpPr/>
      </dsp:nvSpPr>
      <dsp:spPr>
        <a:xfrm>
          <a:off x="54" y="728144"/>
          <a:ext cx="5233253" cy="4653632"/>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Requires manual proactive monitoring to identify execution plan problems.</a:t>
          </a:r>
        </a:p>
        <a:p>
          <a:pPr marL="228600" lvl="1" indent="-228600" algn="l" defTabSz="1066800">
            <a:lnSpc>
              <a:spcPct val="90000"/>
            </a:lnSpc>
            <a:spcBef>
              <a:spcPct val="0"/>
            </a:spcBef>
            <a:spcAft>
              <a:spcPct val="15000"/>
            </a:spcAft>
            <a:buChar char="•"/>
          </a:pPr>
          <a:r>
            <a:rPr lang="en-US" sz="2400" kern="1200" baseline="0" dirty="0"/>
            <a:t>Only the latest plan was stored in the procedure cache</a:t>
          </a:r>
          <a:endParaRPr lang="en-US" sz="2400" kern="1200" dirty="0"/>
        </a:p>
        <a:p>
          <a:pPr marL="228600" lvl="1" indent="-228600" algn="l" defTabSz="1066800">
            <a:lnSpc>
              <a:spcPct val="90000"/>
            </a:lnSpc>
            <a:spcBef>
              <a:spcPct val="0"/>
            </a:spcBef>
            <a:spcAft>
              <a:spcPct val="15000"/>
            </a:spcAft>
            <a:buChar char="•"/>
          </a:pPr>
          <a:r>
            <a:rPr lang="en-US" sz="2400" kern="1200" baseline="0" dirty="0"/>
            <a:t>Restart caused data to be lost</a:t>
          </a:r>
          <a:endParaRPr lang="en-US" sz="2400" kern="1200" dirty="0"/>
        </a:p>
        <a:p>
          <a:pPr marL="228600" lvl="1" indent="-228600" algn="l" defTabSz="1066800">
            <a:lnSpc>
              <a:spcPct val="90000"/>
            </a:lnSpc>
            <a:spcBef>
              <a:spcPct val="0"/>
            </a:spcBef>
            <a:spcAft>
              <a:spcPct val="15000"/>
            </a:spcAft>
            <a:buChar char="•"/>
          </a:pPr>
          <a:r>
            <a:rPr lang="en-US" sz="2400" kern="1200" dirty="0"/>
            <a:t>Frequent recompiles of procedures or use of DBCC FREEPROCACHE</a:t>
          </a:r>
        </a:p>
        <a:p>
          <a:pPr marL="228600" lvl="1" indent="-228600" algn="l" defTabSz="1066800">
            <a:lnSpc>
              <a:spcPct val="90000"/>
            </a:lnSpc>
            <a:spcBef>
              <a:spcPct val="0"/>
            </a:spcBef>
            <a:spcAft>
              <a:spcPct val="15000"/>
            </a:spcAft>
            <a:buChar char="•"/>
          </a:pPr>
          <a:r>
            <a:rPr lang="en-US" sz="2400" kern="1200" baseline="0" dirty="0"/>
            <a:t>No history or aggregated gathering of data available.</a:t>
          </a:r>
          <a:endParaRPr lang="en-US" sz="2400" kern="1200" dirty="0"/>
        </a:p>
      </dsp:txBody>
      <dsp:txXfrm>
        <a:off x="54" y="728144"/>
        <a:ext cx="5233253" cy="4653632"/>
      </dsp:txXfrm>
    </dsp:sp>
    <dsp:sp modelId="{5B3159C4-B630-46CE-86BB-39F10831FF9C}">
      <dsp:nvSpPr>
        <dsp:cNvPr id="0" name=""/>
        <dsp:cNvSpPr/>
      </dsp:nvSpPr>
      <dsp:spPr>
        <a:xfrm>
          <a:off x="5965963" y="8144"/>
          <a:ext cx="5233253" cy="720000"/>
        </a:xfrm>
        <a:prstGeom prst="rect">
          <a:avLst/>
        </a:prstGeom>
        <a:gradFill rotWithShape="0">
          <a:gsLst>
            <a:gs pos="0">
              <a:schemeClr val="accent2">
                <a:hueOff val="-2667497"/>
                <a:satOff val="55382"/>
                <a:lumOff val="588"/>
                <a:alphaOff val="0"/>
                <a:satMod val="103000"/>
                <a:lumMod val="102000"/>
                <a:tint val="94000"/>
              </a:schemeClr>
            </a:gs>
            <a:gs pos="50000">
              <a:schemeClr val="accent2">
                <a:hueOff val="-2667497"/>
                <a:satOff val="55382"/>
                <a:lumOff val="588"/>
                <a:alphaOff val="0"/>
                <a:satMod val="110000"/>
                <a:lumMod val="100000"/>
                <a:shade val="100000"/>
              </a:schemeClr>
            </a:gs>
            <a:gs pos="100000">
              <a:schemeClr val="accent2">
                <a:hueOff val="-2667497"/>
                <a:satOff val="55382"/>
                <a:lumOff val="588"/>
                <a:alphaOff val="0"/>
                <a:lumMod val="99000"/>
                <a:satMod val="120000"/>
                <a:shade val="78000"/>
              </a:schemeClr>
            </a:gs>
          </a:gsLst>
          <a:lin ang="5400000" scaled="0"/>
        </a:gradFill>
        <a:ln w="6350" cap="flat" cmpd="sng" algn="ctr">
          <a:solidFill>
            <a:schemeClr val="accent2">
              <a:hueOff val="-2667497"/>
              <a:satOff val="55382"/>
              <a:lumOff val="588"/>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With Query Store</a:t>
          </a:r>
        </a:p>
      </dsp:txBody>
      <dsp:txXfrm>
        <a:off x="5965963" y="8144"/>
        <a:ext cx="5233253" cy="720000"/>
      </dsp:txXfrm>
    </dsp:sp>
    <dsp:sp modelId="{821CDC50-C3A6-405C-AC50-7346C099707C}">
      <dsp:nvSpPr>
        <dsp:cNvPr id="0" name=""/>
        <dsp:cNvSpPr/>
      </dsp:nvSpPr>
      <dsp:spPr>
        <a:xfrm>
          <a:off x="5965963" y="728144"/>
          <a:ext cx="5233253" cy="4653632"/>
        </a:xfrm>
        <a:prstGeom prst="rect">
          <a:avLst/>
        </a:prstGeom>
        <a:solidFill>
          <a:schemeClr val="accent2">
            <a:tint val="40000"/>
            <a:alpha val="90000"/>
            <a:hueOff val="-3488517"/>
            <a:satOff val="9327"/>
            <a:lumOff val="1154"/>
            <a:alphaOff val="0"/>
          </a:schemeClr>
        </a:solidFill>
        <a:ln w="6350" cap="flat" cmpd="sng" algn="ctr">
          <a:solidFill>
            <a:schemeClr val="accent2">
              <a:tint val="40000"/>
              <a:alpha val="90000"/>
              <a:hueOff val="-3488517"/>
              <a:satOff val="9327"/>
              <a:lumOff val="1154"/>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It stores the history of the execution plans for each query</a:t>
          </a:r>
          <a:endParaRPr lang="en-US" sz="2400" kern="1200" dirty="0"/>
        </a:p>
        <a:p>
          <a:pPr marL="228600" lvl="1" indent="-228600" algn="l" defTabSz="1066800">
            <a:lnSpc>
              <a:spcPct val="90000"/>
            </a:lnSpc>
            <a:spcBef>
              <a:spcPct val="0"/>
            </a:spcBef>
            <a:spcAft>
              <a:spcPct val="15000"/>
            </a:spcAft>
            <a:buChar char="•"/>
          </a:pPr>
          <a:r>
            <a:rPr lang="en-US" sz="2400" kern="1200"/>
            <a:t>It establishes a performance baseline for each plan over time</a:t>
          </a:r>
          <a:endParaRPr lang="en-US" sz="2400" kern="1200" dirty="0"/>
        </a:p>
        <a:p>
          <a:pPr marL="228600" lvl="1" indent="-228600" algn="l" defTabSz="1066800">
            <a:lnSpc>
              <a:spcPct val="90000"/>
            </a:lnSpc>
            <a:spcBef>
              <a:spcPct val="0"/>
            </a:spcBef>
            <a:spcAft>
              <a:spcPct val="15000"/>
            </a:spcAft>
            <a:buChar char="•"/>
          </a:pPr>
          <a:r>
            <a:rPr lang="en-US" sz="2400" kern="1200" dirty="0"/>
            <a:t>It identifies queries that may have regressed</a:t>
          </a:r>
        </a:p>
        <a:p>
          <a:pPr marL="228600" lvl="1" indent="-228600" algn="l" defTabSz="1066800">
            <a:lnSpc>
              <a:spcPct val="90000"/>
            </a:lnSpc>
            <a:spcBef>
              <a:spcPct val="0"/>
            </a:spcBef>
            <a:spcAft>
              <a:spcPct val="15000"/>
            </a:spcAft>
            <a:buChar char="•"/>
          </a:pPr>
          <a:r>
            <a:rPr lang="en-US" sz="2400" kern="1200"/>
            <a:t>It is possible to force plans quickly and easily</a:t>
          </a:r>
          <a:endParaRPr lang="en-US" sz="2400" kern="1200" dirty="0"/>
        </a:p>
        <a:p>
          <a:pPr marL="228600" lvl="1" indent="-228600" algn="l" defTabSz="1066800">
            <a:lnSpc>
              <a:spcPct val="90000"/>
            </a:lnSpc>
            <a:spcBef>
              <a:spcPct val="0"/>
            </a:spcBef>
            <a:spcAft>
              <a:spcPct val="15000"/>
            </a:spcAft>
            <a:buChar char="•"/>
          </a:pPr>
          <a:r>
            <a:rPr lang="en-US" sz="2400" kern="1200"/>
            <a:t>It works across server restarts, upgrades, and query recompilation</a:t>
          </a:r>
          <a:endParaRPr lang="en-US" sz="2400" kern="1200" dirty="0"/>
        </a:p>
      </dsp:txBody>
      <dsp:txXfrm>
        <a:off x="5965963" y="728144"/>
        <a:ext cx="5233253" cy="465363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6140"/>
          <a:ext cx="10880725" cy="90908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f upgrading from SQL Server 2012 to 2019. Which report should figure prominently in your upgrade plans?</a:t>
          </a:r>
        </a:p>
      </dsp:txBody>
      <dsp:txXfrm>
        <a:off x="44378" y="60518"/>
        <a:ext cx="10791969" cy="820333"/>
      </dsp:txXfrm>
    </dsp:sp>
    <dsp:sp modelId="{54FE124D-C180-4875-9FE1-0D9AA94AA38B}">
      <dsp:nvSpPr>
        <dsp:cNvPr id="0" name=""/>
        <dsp:cNvSpPr/>
      </dsp:nvSpPr>
      <dsp:spPr>
        <a:xfrm>
          <a:off x="0" y="985710"/>
          <a:ext cx="10880725" cy="909089"/>
        </a:xfrm>
        <a:prstGeom prst="roundRect">
          <a:avLst/>
        </a:prstGeom>
        <a:solidFill>
          <a:schemeClr val="accent4">
            <a:hueOff val="-3096201"/>
            <a:satOff val="-25000"/>
            <a:lumOff val="22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n a report’s bar chart what does each bar represent?</a:t>
          </a:r>
        </a:p>
      </dsp:txBody>
      <dsp:txXfrm>
        <a:off x="44378" y="1030088"/>
        <a:ext cx="10791969" cy="820333"/>
      </dsp:txXfrm>
    </dsp:sp>
    <dsp:sp modelId="{682F4D3A-F129-4AD8-A07B-7F06F695F982}">
      <dsp:nvSpPr>
        <dsp:cNvPr id="0" name=""/>
        <dsp:cNvSpPr/>
      </dsp:nvSpPr>
      <dsp:spPr>
        <a:xfrm>
          <a:off x="0" y="1955279"/>
          <a:ext cx="10880725" cy="909089"/>
        </a:xfrm>
        <a:prstGeom prst="roundRect">
          <a:avLst/>
        </a:prstGeom>
        <a:solidFill>
          <a:schemeClr val="accent4">
            <a:hueOff val="-6192403"/>
            <a:satOff val="-50000"/>
            <a:lumOff val="451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 Which report can help troubleshoot a parameter sniffing issue?</a:t>
          </a:r>
        </a:p>
      </dsp:txBody>
      <dsp:txXfrm>
        <a:off x="44378" y="1999657"/>
        <a:ext cx="10791969" cy="820333"/>
      </dsp:txXfrm>
    </dsp:sp>
    <dsp:sp modelId="{CFAAB923-0A67-45D9-BB26-5D5037C1BD28}">
      <dsp:nvSpPr>
        <dsp:cNvPr id="0" name=""/>
        <dsp:cNvSpPr/>
      </dsp:nvSpPr>
      <dsp:spPr>
        <a:xfrm>
          <a:off x="0" y="2924849"/>
          <a:ext cx="10880725" cy="909089"/>
        </a:xfrm>
        <a:prstGeom prst="roundRect">
          <a:avLst/>
        </a:prstGeom>
        <a:solidFill>
          <a:schemeClr val="accent4">
            <a:hueOff val="-9288604"/>
            <a:satOff val="-75000"/>
            <a:lumOff val="6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Querying the wait statistics DMV it returns high PAGEIOLATCH waits. Which report can help identify queries with high IO wait times? </a:t>
          </a:r>
        </a:p>
      </dsp:txBody>
      <dsp:txXfrm>
        <a:off x="44378" y="2969227"/>
        <a:ext cx="10791969" cy="820333"/>
      </dsp:txXfrm>
    </dsp:sp>
    <dsp:sp modelId="{FB500A59-BA24-48C3-956B-D338A64B25A5}">
      <dsp:nvSpPr>
        <dsp:cNvPr id="0" name=""/>
        <dsp:cNvSpPr/>
      </dsp:nvSpPr>
      <dsp:spPr>
        <a:xfrm>
          <a:off x="0" y="3894420"/>
          <a:ext cx="10880725" cy="909089"/>
        </a:xfrm>
        <a:prstGeom prst="roundRect">
          <a:avLst/>
        </a:prstGeom>
        <a:solidFill>
          <a:schemeClr val="accent4">
            <a:hueOff val="-12384805"/>
            <a:satOff val="-100000"/>
            <a:lumOff val="90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omeone has dropped an index needed by a forced plan. What happens the next time the query executes?  What happens if the index is recreated?</a:t>
          </a:r>
        </a:p>
      </dsp:txBody>
      <dsp:txXfrm>
        <a:off x="44378" y="3938798"/>
        <a:ext cx="10791969" cy="8203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9FE26-4822-4DF1-A679-9872F5820011}">
      <dsp:nvSpPr>
        <dsp:cNvPr id="0" name=""/>
        <dsp:cNvSpPr/>
      </dsp:nvSpPr>
      <dsp:spPr>
        <a:xfrm>
          <a:off x="0" y="249830"/>
          <a:ext cx="10880726" cy="7497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Stored procedures, functions, triggers</a:t>
          </a:r>
          <a:endParaRPr lang="en-US" sz="2000" kern="1200" dirty="0">
            <a:latin typeface="Segoe UI" panose="020B0502040204020203" pitchFamily="34" charset="0"/>
          </a:endParaRPr>
        </a:p>
      </dsp:txBody>
      <dsp:txXfrm>
        <a:off x="0" y="249830"/>
        <a:ext cx="10880726" cy="749700"/>
      </dsp:txXfrm>
    </dsp:sp>
    <dsp:sp modelId="{4D8FEBEF-41A5-4840-8C33-571197C816C3}">
      <dsp:nvSpPr>
        <dsp:cNvPr id="0" name=""/>
        <dsp:cNvSpPr/>
      </dsp:nvSpPr>
      <dsp:spPr>
        <a:xfrm>
          <a:off x="544036" y="43190"/>
          <a:ext cx="7616508" cy="413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Object plans:</a:t>
          </a:r>
          <a:endParaRPr lang="en-US" sz="2600" kern="1200" dirty="0">
            <a:latin typeface="Segoe UI" panose="020B0502040204020203" pitchFamily="34" charset="0"/>
          </a:endParaRPr>
        </a:p>
      </dsp:txBody>
      <dsp:txXfrm>
        <a:off x="564211" y="63365"/>
        <a:ext cx="7576158" cy="372930"/>
      </dsp:txXfrm>
    </dsp:sp>
    <dsp:sp modelId="{3EFC49D7-8BB1-43E9-91AA-D13C104FA8DF}">
      <dsp:nvSpPr>
        <dsp:cNvPr id="0" name=""/>
        <dsp:cNvSpPr/>
      </dsp:nvSpPr>
      <dsp:spPr>
        <a:xfrm>
          <a:off x="0" y="1281770"/>
          <a:ext cx="10880726" cy="749700"/>
        </a:xfrm>
        <a:prstGeom prst="rect">
          <a:avLst/>
        </a:prstGeom>
        <a:solidFill>
          <a:schemeClr val="lt1">
            <a:alpha val="90000"/>
            <a:hueOff val="0"/>
            <a:satOff val="0"/>
            <a:lumOff val="0"/>
            <a:alphaOff val="0"/>
          </a:schemeClr>
        </a:solidFill>
        <a:ln w="12700" cap="flat" cmpd="sng" algn="ctr">
          <a:solidFill>
            <a:schemeClr val="accent2">
              <a:hueOff val="-666874"/>
              <a:satOff val="13846"/>
              <a:lumOff val="14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Prepared plans and </a:t>
          </a:r>
          <a:r>
            <a:rPr lang="en-US" sz="2000" i="1" kern="1200" baseline="0" dirty="0">
              <a:latin typeface="Segoe UI" panose="020B0502040204020203" pitchFamily="34" charset="0"/>
            </a:rPr>
            <a:t>ad hoc </a:t>
          </a:r>
          <a:r>
            <a:rPr lang="en-US" sz="2000" kern="1200" baseline="0" dirty="0">
              <a:latin typeface="Segoe UI" panose="020B0502040204020203" pitchFamily="34" charset="0"/>
            </a:rPr>
            <a:t>plans</a:t>
          </a:r>
          <a:endParaRPr lang="en-US" sz="2000" kern="1200" dirty="0">
            <a:latin typeface="Segoe UI" panose="020B0502040204020203" pitchFamily="34" charset="0"/>
          </a:endParaRPr>
        </a:p>
      </dsp:txBody>
      <dsp:txXfrm>
        <a:off x="0" y="1281770"/>
        <a:ext cx="10880726" cy="749700"/>
      </dsp:txXfrm>
    </dsp:sp>
    <dsp:sp modelId="{65C37683-9B5E-499D-99DF-94C70AA7B054}">
      <dsp:nvSpPr>
        <dsp:cNvPr id="0" name=""/>
        <dsp:cNvSpPr/>
      </dsp:nvSpPr>
      <dsp:spPr>
        <a:xfrm>
          <a:off x="544036" y="1075130"/>
          <a:ext cx="7616508" cy="413280"/>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SQL Plans</a:t>
          </a:r>
          <a:r>
            <a:rPr lang="en-US" sz="2600" kern="1200" baseline="0">
              <a:latin typeface="Segoe UI" panose="020B0502040204020203" pitchFamily="34" charset="0"/>
            </a:rPr>
            <a:t>:</a:t>
          </a:r>
          <a:endParaRPr lang="en-US" sz="2600" kern="1200" dirty="0">
            <a:latin typeface="Segoe UI" panose="020B0502040204020203" pitchFamily="34" charset="0"/>
          </a:endParaRPr>
        </a:p>
      </dsp:txBody>
      <dsp:txXfrm>
        <a:off x="564211" y="1095305"/>
        <a:ext cx="7576158" cy="372930"/>
      </dsp:txXfrm>
    </dsp:sp>
    <dsp:sp modelId="{D18666BA-1933-4BFC-AB2A-0E67C6FB4186}">
      <dsp:nvSpPr>
        <dsp:cNvPr id="0" name=""/>
        <dsp:cNvSpPr/>
      </dsp:nvSpPr>
      <dsp:spPr>
        <a:xfrm>
          <a:off x="0" y="2313710"/>
          <a:ext cx="10880726" cy="7497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Bound trees and extended stored procedure references</a:t>
          </a:r>
          <a:endParaRPr lang="en-US" sz="2000" kern="1200" dirty="0">
            <a:latin typeface="Segoe UI" panose="020B0502040204020203" pitchFamily="34" charset="0"/>
          </a:endParaRPr>
        </a:p>
      </dsp:txBody>
      <dsp:txXfrm>
        <a:off x="0" y="2313710"/>
        <a:ext cx="10880726" cy="749700"/>
      </dsp:txXfrm>
    </dsp:sp>
    <dsp:sp modelId="{AFED54AA-4D7A-4690-997F-49AEF6EF2BBD}">
      <dsp:nvSpPr>
        <dsp:cNvPr id="0" name=""/>
        <dsp:cNvSpPr/>
      </dsp:nvSpPr>
      <dsp:spPr>
        <a:xfrm>
          <a:off x="544036" y="2107070"/>
          <a:ext cx="7616508" cy="41328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Other</a:t>
          </a:r>
          <a:r>
            <a:rPr lang="en-US" sz="2600" kern="1200" baseline="0">
              <a:latin typeface="Segoe UI" panose="020B0502040204020203" pitchFamily="34" charset="0"/>
            </a:rPr>
            <a:t>:</a:t>
          </a:r>
          <a:endParaRPr lang="en-US" sz="2600" kern="1200" dirty="0">
            <a:latin typeface="Segoe UI" panose="020B0502040204020203" pitchFamily="34" charset="0"/>
          </a:endParaRPr>
        </a:p>
      </dsp:txBody>
      <dsp:txXfrm>
        <a:off x="564211" y="2127245"/>
        <a:ext cx="7576158" cy="372930"/>
      </dsp:txXfrm>
    </dsp:sp>
    <dsp:sp modelId="{B73394BE-3239-4A6A-B5AC-00960220130D}">
      <dsp:nvSpPr>
        <dsp:cNvPr id="0" name=""/>
        <dsp:cNvSpPr/>
      </dsp:nvSpPr>
      <dsp:spPr>
        <a:xfrm>
          <a:off x="0" y="3345650"/>
          <a:ext cx="10880726" cy="749700"/>
        </a:xfrm>
        <a:prstGeom prst="rect">
          <a:avLst/>
        </a:prstGeom>
        <a:solidFill>
          <a:schemeClr val="lt1">
            <a:alpha val="90000"/>
            <a:hueOff val="0"/>
            <a:satOff val="0"/>
            <a:lumOff val="0"/>
            <a:alphaOff val="0"/>
          </a:schemeClr>
        </a:solidFill>
        <a:ln w="12700" cap="flat" cmpd="sng" algn="ctr">
          <a:solidFill>
            <a:schemeClr val="accent2">
              <a:hueOff val="-2000623"/>
              <a:satOff val="41537"/>
              <a:lumOff val="4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Execution plans are per-statement (not object).</a:t>
          </a:r>
          <a:endParaRPr lang="en-US" sz="2000" kern="1200" dirty="0">
            <a:latin typeface="Segoe UI" panose="020B0502040204020203" pitchFamily="34" charset="0"/>
          </a:endParaRPr>
        </a:p>
      </dsp:txBody>
      <dsp:txXfrm>
        <a:off x="0" y="3345650"/>
        <a:ext cx="10880726" cy="749700"/>
      </dsp:txXfrm>
    </dsp:sp>
    <dsp:sp modelId="{1F9CB28E-4CAF-45D5-9922-A45FEE2C1401}">
      <dsp:nvSpPr>
        <dsp:cNvPr id="0" name=""/>
        <dsp:cNvSpPr/>
      </dsp:nvSpPr>
      <dsp:spPr>
        <a:xfrm>
          <a:off x="544036" y="3139010"/>
          <a:ext cx="7616508" cy="413280"/>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Granularity:</a:t>
          </a:r>
          <a:endParaRPr lang="en-US" sz="2600" kern="1200" dirty="0">
            <a:latin typeface="Segoe UI" panose="020B0502040204020203" pitchFamily="34" charset="0"/>
          </a:endParaRPr>
        </a:p>
      </dsp:txBody>
      <dsp:txXfrm>
        <a:off x="564211" y="3159185"/>
        <a:ext cx="7576158" cy="372930"/>
      </dsp:txXfrm>
    </dsp:sp>
    <dsp:sp modelId="{95161727-5838-4C95-86F3-28152C04D85D}">
      <dsp:nvSpPr>
        <dsp:cNvPr id="0" name=""/>
        <dsp:cNvSpPr/>
      </dsp:nvSpPr>
      <dsp:spPr>
        <a:xfrm>
          <a:off x="0" y="4377590"/>
          <a:ext cx="10880726" cy="10584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Multiple plans for a single statement may exist if differing execution contexts were used or if a parallel plan was generated.</a:t>
          </a:r>
          <a:endParaRPr lang="en-US" sz="2000" kern="1200" dirty="0">
            <a:latin typeface="Segoe UI" panose="020B0502040204020203" pitchFamily="34" charset="0"/>
          </a:endParaRPr>
        </a:p>
      </dsp:txBody>
      <dsp:txXfrm>
        <a:off x="0" y="4377590"/>
        <a:ext cx="10880726" cy="1058400"/>
      </dsp:txXfrm>
    </dsp:sp>
    <dsp:sp modelId="{4827BB34-0E86-4436-87DA-6059537C33EB}">
      <dsp:nvSpPr>
        <dsp:cNvPr id="0" name=""/>
        <dsp:cNvSpPr/>
      </dsp:nvSpPr>
      <dsp:spPr>
        <a:xfrm>
          <a:off x="544036" y="4170950"/>
          <a:ext cx="7616508" cy="41328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Plans per Statement:</a:t>
          </a:r>
          <a:endParaRPr lang="en-US" sz="2600" kern="1200" dirty="0">
            <a:latin typeface="Segoe UI" panose="020B0502040204020203" pitchFamily="34" charset="0"/>
          </a:endParaRPr>
        </a:p>
      </dsp:txBody>
      <dsp:txXfrm>
        <a:off x="564211" y="4191125"/>
        <a:ext cx="7576158" cy="3729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E8114-12F3-469E-A27B-D86B1C6D839A}">
      <dsp:nvSpPr>
        <dsp:cNvPr id="0" name=""/>
        <dsp:cNvSpPr/>
      </dsp:nvSpPr>
      <dsp:spPr>
        <a:xfrm>
          <a:off x="4352290" y="1540"/>
          <a:ext cx="6528435" cy="1222139"/>
        </a:xfrm>
        <a:prstGeom prst="rightArrow">
          <a:avLst>
            <a:gd name="adj1" fmla="val 75000"/>
            <a:gd name="adj2" fmla="val 5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dirty="0"/>
            <a:t>Plan type, size and handle</a:t>
          </a:r>
        </a:p>
      </dsp:txBody>
      <dsp:txXfrm>
        <a:off x="4352290" y="154307"/>
        <a:ext cx="6070133" cy="916605"/>
      </dsp:txXfrm>
    </dsp:sp>
    <dsp:sp modelId="{54391A25-D2D9-4355-B400-2D7370C7C8CE}">
      <dsp:nvSpPr>
        <dsp:cNvPr id="0" name=""/>
        <dsp:cNvSpPr/>
      </dsp:nvSpPr>
      <dsp:spPr>
        <a:xfrm>
          <a:off x="0" y="1540"/>
          <a:ext cx="4352290" cy="122213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cached_plans</a:t>
          </a:r>
          <a:endParaRPr lang="en-US" sz="2400" kern="1200" dirty="0"/>
        </a:p>
      </dsp:txBody>
      <dsp:txXfrm>
        <a:off x="59660" y="61200"/>
        <a:ext cx="4232970" cy="1102819"/>
      </dsp:txXfrm>
    </dsp:sp>
    <dsp:sp modelId="{DD3870A4-BF67-43F5-BD9C-EFCAFD36AF9C}">
      <dsp:nvSpPr>
        <dsp:cNvPr id="0" name=""/>
        <dsp:cNvSpPr/>
      </dsp:nvSpPr>
      <dsp:spPr>
        <a:xfrm>
          <a:off x="4352290" y="1345893"/>
          <a:ext cx="6528435" cy="1222139"/>
        </a:xfrm>
        <a:prstGeom prst="rightArrow">
          <a:avLst>
            <a:gd name="adj1" fmla="val 75000"/>
            <a:gd name="adj2" fmla="val 50000"/>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baseline="0" dirty="0"/>
            <a:t>Execution metrics for individual statements</a:t>
          </a:r>
          <a:endParaRPr lang="en-US" sz="2700" kern="1200" dirty="0"/>
        </a:p>
      </dsp:txBody>
      <dsp:txXfrm>
        <a:off x="4352290" y="1498660"/>
        <a:ext cx="6070133" cy="916605"/>
      </dsp:txXfrm>
    </dsp:sp>
    <dsp:sp modelId="{77C55A6C-86CD-46F6-A7BC-CD989BF29AD3}">
      <dsp:nvSpPr>
        <dsp:cNvPr id="0" name=""/>
        <dsp:cNvSpPr/>
      </dsp:nvSpPr>
      <dsp:spPr>
        <a:xfrm>
          <a:off x="0" y="1345893"/>
          <a:ext cx="4352290" cy="1222139"/>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query_stats</a:t>
          </a:r>
          <a:endParaRPr lang="en-US" sz="2400" kern="1200" dirty="0"/>
        </a:p>
      </dsp:txBody>
      <dsp:txXfrm>
        <a:off x="59660" y="1405553"/>
        <a:ext cx="4232970" cy="1102819"/>
      </dsp:txXfrm>
    </dsp:sp>
    <dsp:sp modelId="{1DC62910-F5B0-4E12-AD2C-26B51B70F214}">
      <dsp:nvSpPr>
        <dsp:cNvPr id="0" name=""/>
        <dsp:cNvSpPr/>
      </dsp:nvSpPr>
      <dsp:spPr>
        <a:xfrm>
          <a:off x="4352290" y="2690246"/>
          <a:ext cx="6528435" cy="1222139"/>
        </a:xfrm>
        <a:prstGeom prst="rightArrow">
          <a:avLst>
            <a:gd name="adj1" fmla="val 75000"/>
            <a:gd name="adj2" fmla="val 50000"/>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baseline="0" dirty="0"/>
            <a:t>Takes a plan_handle and returns the associated XML plan </a:t>
          </a:r>
          <a:endParaRPr lang="en-US" sz="2700" kern="1200" dirty="0"/>
        </a:p>
      </dsp:txBody>
      <dsp:txXfrm>
        <a:off x="4352290" y="2843013"/>
        <a:ext cx="6070133" cy="916605"/>
      </dsp:txXfrm>
    </dsp:sp>
    <dsp:sp modelId="{688B86EE-D10B-46C7-84F8-8C0C61F717C8}">
      <dsp:nvSpPr>
        <dsp:cNvPr id="0" name=""/>
        <dsp:cNvSpPr/>
      </dsp:nvSpPr>
      <dsp:spPr>
        <a:xfrm>
          <a:off x="0" y="2690246"/>
          <a:ext cx="4352290" cy="1222139"/>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query_plan()</a:t>
          </a:r>
          <a:endParaRPr lang="en-US" sz="2400" kern="1200" dirty="0"/>
        </a:p>
      </dsp:txBody>
      <dsp:txXfrm>
        <a:off x="59660" y="2749906"/>
        <a:ext cx="4232970" cy="1102819"/>
      </dsp:txXfrm>
    </dsp:sp>
    <dsp:sp modelId="{B61DEA13-FD87-4FB8-AB97-821EA9B9B040}">
      <dsp:nvSpPr>
        <dsp:cNvPr id="0" name=""/>
        <dsp:cNvSpPr/>
      </dsp:nvSpPr>
      <dsp:spPr>
        <a:xfrm>
          <a:off x="4352290" y="4034599"/>
          <a:ext cx="6528435" cy="1222139"/>
        </a:xfrm>
        <a:prstGeom prst="rightArrow">
          <a:avLst>
            <a:gd name="adj1" fmla="val 75000"/>
            <a:gd name="adj2" fmla="val 50000"/>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baseline="0" dirty="0"/>
            <a:t>Takes a plan_handle or sql_handle and returns the associated SQL batch</a:t>
          </a:r>
          <a:endParaRPr lang="en-US" sz="2700" kern="1200" dirty="0"/>
        </a:p>
      </dsp:txBody>
      <dsp:txXfrm>
        <a:off x="4352290" y="4187366"/>
        <a:ext cx="6070133" cy="916605"/>
      </dsp:txXfrm>
    </dsp:sp>
    <dsp:sp modelId="{19D55732-39F8-4659-9F37-B937D64447A3}">
      <dsp:nvSpPr>
        <dsp:cNvPr id="0" name=""/>
        <dsp:cNvSpPr/>
      </dsp:nvSpPr>
      <dsp:spPr>
        <a:xfrm>
          <a:off x="0" y="4034599"/>
          <a:ext cx="4352290" cy="1222139"/>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sql_text()</a:t>
          </a:r>
          <a:endParaRPr lang="en-US" sz="2400" kern="1200" dirty="0"/>
        </a:p>
      </dsp:txBody>
      <dsp:txXfrm>
        <a:off x="59660" y="4094259"/>
        <a:ext cx="4232970" cy="11028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9FD43F-B116-44D8-A634-5BFAE6E1AA90}">
      <dsp:nvSpPr>
        <dsp:cNvPr id="0" name=""/>
        <dsp:cNvSpPr/>
      </dsp:nvSpPr>
      <dsp:spPr>
        <a:xfrm>
          <a:off x="0" y="35984"/>
          <a:ext cx="5284787"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Execution count</a:t>
          </a:r>
          <a:endParaRPr lang="en-US" sz="2100" kern="1200" dirty="0"/>
        </a:p>
      </dsp:txBody>
      <dsp:txXfrm>
        <a:off x="26387" y="62371"/>
        <a:ext cx="5232013" cy="487766"/>
      </dsp:txXfrm>
    </dsp:sp>
    <dsp:sp modelId="{2188DE46-950A-44E0-A8B0-CD8EFEA6C151}">
      <dsp:nvSpPr>
        <dsp:cNvPr id="0" name=""/>
        <dsp:cNvSpPr/>
      </dsp:nvSpPr>
      <dsp:spPr>
        <a:xfrm>
          <a:off x="0" y="637004"/>
          <a:ext cx="5284787" cy="540540"/>
        </a:xfrm>
        <a:prstGeom prst="roundRect">
          <a:avLst/>
        </a:prstGeom>
        <a:solidFill>
          <a:schemeClr val="accent2">
            <a:hueOff val="-381071"/>
            <a:satOff val="7912"/>
            <a:lumOff val="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Worker time</a:t>
          </a:r>
        </a:p>
      </dsp:txBody>
      <dsp:txXfrm>
        <a:off x="26387" y="663391"/>
        <a:ext cx="5232013" cy="487766"/>
      </dsp:txXfrm>
    </dsp:sp>
    <dsp:sp modelId="{00AC3774-2F5B-41F4-9613-FD78AB0A3D33}">
      <dsp:nvSpPr>
        <dsp:cNvPr id="0" name=""/>
        <dsp:cNvSpPr/>
      </dsp:nvSpPr>
      <dsp:spPr>
        <a:xfrm>
          <a:off x="0" y="1238024"/>
          <a:ext cx="5284787" cy="540540"/>
        </a:xfrm>
        <a:prstGeom prst="roundRect">
          <a:avLst/>
        </a:prstGeom>
        <a:solidFill>
          <a:schemeClr val="accent2">
            <a:hueOff val="-762142"/>
            <a:satOff val="15823"/>
            <a:lumOff val="1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Physical read</a:t>
          </a:r>
          <a:endParaRPr lang="en-US" sz="2100" kern="1200" dirty="0"/>
        </a:p>
      </dsp:txBody>
      <dsp:txXfrm>
        <a:off x="26387" y="1264411"/>
        <a:ext cx="5232013" cy="487766"/>
      </dsp:txXfrm>
    </dsp:sp>
    <dsp:sp modelId="{ADB81461-1BAD-42E8-8951-7926DFB44DB9}">
      <dsp:nvSpPr>
        <dsp:cNvPr id="0" name=""/>
        <dsp:cNvSpPr/>
      </dsp:nvSpPr>
      <dsp:spPr>
        <a:xfrm>
          <a:off x="0" y="1839044"/>
          <a:ext cx="5284787" cy="540540"/>
        </a:xfrm>
        <a:prstGeom prst="roundRect">
          <a:avLst/>
        </a:prstGeom>
        <a:solidFill>
          <a:schemeClr val="accent2">
            <a:hueOff val="-1143213"/>
            <a:satOff val="23735"/>
            <a:lumOff val="2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Logical reads</a:t>
          </a:r>
          <a:endParaRPr lang="en-US" sz="2100" kern="1200" dirty="0"/>
        </a:p>
      </dsp:txBody>
      <dsp:txXfrm>
        <a:off x="26387" y="1865431"/>
        <a:ext cx="5232013" cy="487766"/>
      </dsp:txXfrm>
    </dsp:sp>
    <dsp:sp modelId="{AC47D6B1-4844-4DF3-A3BB-850F4BBCC674}">
      <dsp:nvSpPr>
        <dsp:cNvPr id="0" name=""/>
        <dsp:cNvSpPr/>
      </dsp:nvSpPr>
      <dsp:spPr>
        <a:xfrm>
          <a:off x="0" y="2440064"/>
          <a:ext cx="5284787" cy="540540"/>
        </a:xfrm>
        <a:prstGeom prst="roundRect">
          <a:avLst/>
        </a:prstGeom>
        <a:solidFill>
          <a:schemeClr val="accent2">
            <a:hueOff val="-1524284"/>
            <a:satOff val="31647"/>
            <a:lumOff val="3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Elapsed time</a:t>
          </a:r>
        </a:p>
      </dsp:txBody>
      <dsp:txXfrm>
        <a:off x="26387" y="2466451"/>
        <a:ext cx="5232013" cy="487766"/>
      </dsp:txXfrm>
    </dsp:sp>
    <dsp:sp modelId="{A4B8DADE-7CBD-4991-BE41-E0572C3734D1}">
      <dsp:nvSpPr>
        <dsp:cNvPr id="0" name=""/>
        <dsp:cNvSpPr/>
      </dsp:nvSpPr>
      <dsp:spPr>
        <a:xfrm>
          <a:off x="0" y="3041084"/>
          <a:ext cx="5284787" cy="540540"/>
        </a:xfrm>
        <a:prstGeom prst="roundRect">
          <a:avLst/>
        </a:prstGeom>
        <a:solidFill>
          <a:schemeClr val="accent2">
            <a:hueOff val="-1905355"/>
            <a:satOff val="39559"/>
            <a:lumOff val="4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Row count</a:t>
          </a:r>
        </a:p>
      </dsp:txBody>
      <dsp:txXfrm>
        <a:off x="26387" y="3067471"/>
        <a:ext cx="5232013" cy="487766"/>
      </dsp:txXfrm>
    </dsp:sp>
    <dsp:sp modelId="{18BBA3A3-5B22-4686-A138-349B603E9E3D}">
      <dsp:nvSpPr>
        <dsp:cNvPr id="0" name=""/>
        <dsp:cNvSpPr/>
      </dsp:nvSpPr>
      <dsp:spPr>
        <a:xfrm>
          <a:off x="0" y="3642105"/>
          <a:ext cx="5284787" cy="540540"/>
        </a:xfrm>
        <a:prstGeom prst="roundRect">
          <a:avLst/>
        </a:prstGeom>
        <a:solidFill>
          <a:schemeClr val="accent2">
            <a:hueOff val="-2286426"/>
            <a:satOff val="47470"/>
            <a:lumOff val="5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Memory consumption</a:t>
          </a:r>
          <a:endParaRPr lang="en-US" sz="2100" kern="1200" dirty="0"/>
        </a:p>
      </dsp:txBody>
      <dsp:txXfrm>
        <a:off x="26387" y="3668492"/>
        <a:ext cx="5232013" cy="487766"/>
      </dsp:txXfrm>
    </dsp:sp>
    <dsp:sp modelId="{F2C617A2-4343-4A54-A451-84BA96676C27}">
      <dsp:nvSpPr>
        <dsp:cNvPr id="0" name=""/>
        <dsp:cNvSpPr/>
      </dsp:nvSpPr>
      <dsp:spPr>
        <a:xfrm>
          <a:off x="0" y="4243125"/>
          <a:ext cx="5284787" cy="5405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pills</a:t>
          </a:r>
        </a:p>
      </dsp:txBody>
      <dsp:txXfrm>
        <a:off x="26387" y="4269512"/>
        <a:ext cx="5232013" cy="48776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358F0B-3705-4BDE-875B-8462A329C789}">
      <dsp:nvSpPr>
        <dsp:cNvPr id="0" name=""/>
        <dsp:cNvSpPr/>
      </dsp:nvSpPr>
      <dsp:spPr>
        <a:xfrm rot="5400000">
          <a:off x="1665793" y="718693"/>
          <a:ext cx="3855720" cy="3382262"/>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baseline="0" dirty="0"/>
            <a:t>Total</a:t>
          </a:r>
          <a:endParaRPr lang="en-US" sz="2400" kern="1200" dirty="0"/>
        </a:p>
        <a:p>
          <a:pPr marL="228600" lvl="1" indent="-228600" algn="l" defTabSz="1066800">
            <a:lnSpc>
              <a:spcPct val="90000"/>
            </a:lnSpc>
            <a:spcBef>
              <a:spcPct val="0"/>
            </a:spcBef>
            <a:spcAft>
              <a:spcPct val="15000"/>
            </a:spcAft>
            <a:buChar char="•"/>
          </a:pPr>
          <a:r>
            <a:rPr lang="en-US" sz="2400" kern="1200" baseline="0" dirty="0"/>
            <a:t>Last</a:t>
          </a:r>
          <a:endParaRPr lang="en-US" sz="2400" kern="1200" dirty="0"/>
        </a:p>
        <a:p>
          <a:pPr marL="228600" lvl="1" indent="-228600" algn="l" defTabSz="1066800">
            <a:lnSpc>
              <a:spcPct val="90000"/>
            </a:lnSpc>
            <a:spcBef>
              <a:spcPct val="0"/>
            </a:spcBef>
            <a:spcAft>
              <a:spcPct val="15000"/>
            </a:spcAft>
            <a:buChar char="•"/>
          </a:pPr>
          <a:r>
            <a:rPr lang="en-US" sz="2400" kern="1200" baseline="0" dirty="0"/>
            <a:t>Min</a:t>
          </a:r>
          <a:endParaRPr lang="en-US" sz="2400" kern="1200" dirty="0"/>
        </a:p>
        <a:p>
          <a:pPr marL="228600" lvl="1" indent="-228600" algn="l" defTabSz="1066800">
            <a:lnSpc>
              <a:spcPct val="90000"/>
            </a:lnSpc>
            <a:spcBef>
              <a:spcPct val="0"/>
            </a:spcBef>
            <a:spcAft>
              <a:spcPct val="15000"/>
            </a:spcAft>
            <a:buChar char="•"/>
          </a:pPr>
          <a:r>
            <a:rPr lang="en-US" sz="2400" kern="1200" baseline="0" dirty="0"/>
            <a:t>Max</a:t>
          </a:r>
          <a:endParaRPr lang="en-US" sz="2400" kern="1200" dirty="0"/>
        </a:p>
      </dsp:txBody>
      <dsp:txXfrm rot="-5400000">
        <a:off x="1902522" y="647072"/>
        <a:ext cx="3217154" cy="3525504"/>
      </dsp:txXfrm>
    </dsp:sp>
    <dsp:sp modelId="{086FF4FD-422F-4991-98D0-CD9E311A2A35}">
      <dsp:nvSpPr>
        <dsp:cNvPr id="0" name=""/>
        <dsp:cNvSpPr/>
      </dsp:nvSpPr>
      <dsp:spPr>
        <a:xfrm>
          <a:off x="0" y="0"/>
          <a:ext cx="1902522" cy="481965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ggregate statistics</a:t>
          </a:r>
          <a:endParaRPr lang="en-US" sz="2400" kern="1200" dirty="0"/>
        </a:p>
      </dsp:txBody>
      <dsp:txXfrm>
        <a:off x="92873" y="92873"/>
        <a:ext cx="1716776" cy="463390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2B8F45-C21C-453B-84D9-C5CD6AD7B4FC}">
      <dsp:nvSpPr>
        <dsp:cNvPr id="0" name=""/>
        <dsp:cNvSpPr/>
      </dsp:nvSpPr>
      <dsp:spPr>
        <a:xfrm>
          <a:off x="0" y="295174"/>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Heavy </a:t>
          </a:r>
          <a:r>
            <a:rPr lang="en-US" sz="2400" i="1" kern="1200" baseline="0" dirty="0"/>
            <a:t>ad hoc </a:t>
          </a:r>
          <a:r>
            <a:rPr lang="en-US" sz="2400" kern="1200" baseline="0" dirty="0"/>
            <a:t>workloads can bloat the plan cache</a:t>
          </a:r>
          <a:endParaRPr lang="en-US" sz="2400" kern="1200" dirty="0"/>
        </a:p>
      </dsp:txBody>
      <dsp:txXfrm>
        <a:off x="0" y="295174"/>
        <a:ext cx="3400226" cy="2040136"/>
      </dsp:txXfrm>
    </dsp:sp>
    <dsp:sp modelId="{7A872729-72F1-46CB-B009-3FB6861B61FC}">
      <dsp:nvSpPr>
        <dsp:cNvPr id="0" name=""/>
        <dsp:cNvSpPr/>
      </dsp:nvSpPr>
      <dsp:spPr>
        <a:xfrm>
          <a:off x="3740249" y="295174"/>
          <a:ext cx="3400226" cy="2040136"/>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No benefit to caching single-use, ad hoc plans</a:t>
          </a:r>
          <a:endParaRPr lang="en-US" sz="2400" kern="1200" dirty="0"/>
        </a:p>
      </dsp:txBody>
      <dsp:txXfrm>
        <a:off x="3740249" y="295174"/>
        <a:ext cx="3400226" cy="2040136"/>
      </dsp:txXfrm>
    </dsp:sp>
    <dsp:sp modelId="{41967A24-5AD9-4D95-94BC-C765092BFE0F}">
      <dsp:nvSpPr>
        <dsp:cNvPr id="0" name=""/>
        <dsp:cNvSpPr/>
      </dsp:nvSpPr>
      <dsp:spPr>
        <a:xfrm>
          <a:off x="7480499" y="295174"/>
          <a:ext cx="3400226" cy="2040136"/>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Enable “optimize for ad hoc workload” to keep single-use plans out of the cache</a:t>
          </a:r>
          <a:endParaRPr lang="en-US" sz="2400" kern="1200" dirty="0"/>
        </a:p>
      </dsp:txBody>
      <dsp:txXfrm>
        <a:off x="7480499" y="295174"/>
        <a:ext cx="3400226" cy="204013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522A8-711A-4630-958A-12DF3648621E}">
      <dsp:nvSpPr>
        <dsp:cNvPr id="0" name=""/>
        <dsp:cNvSpPr/>
      </dsp:nvSpPr>
      <dsp:spPr>
        <a:xfrm rot="5400000">
          <a:off x="6991524" y="-2970503"/>
          <a:ext cx="814737"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PROCCACHE;</a:t>
          </a:r>
          <a:endParaRPr lang="en-US" sz="2100" kern="1200" dirty="0"/>
        </a:p>
      </dsp:txBody>
      <dsp:txXfrm rot="-5400000">
        <a:off x="3917061" y="143732"/>
        <a:ext cx="6923892" cy="735193"/>
      </dsp:txXfrm>
    </dsp:sp>
    <dsp:sp modelId="{57FC79EA-B573-4303-A113-614FA5F58C07}">
      <dsp:nvSpPr>
        <dsp:cNvPr id="0" name=""/>
        <dsp:cNvSpPr/>
      </dsp:nvSpPr>
      <dsp:spPr>
        <a:xfrm>
          <a:off x="0" y="2117"/>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he entire plan cache – all databases</a:t>
          </a:r>
          <a:endParaRPr lang="en-US" sz="2400" kern="1200" dirty="0"/>
        </a:p>
      </dsp:txBody>
      <dsp:txXfrm>
        <a:off x="49715" y="51832"/>
        <a:ext cx="3817631" cy="918991"/>
      </dsp:txXfrm>
    </dsp:sp>
    <dsp:sp modelId="{13482CE1-0B98-4FC6-BA7C-55C81132E1EF}">
      <dsp:nvSpPr>
        <dsp:cNvPr id="0" name=""/>
        <dsp:cNvSpPr/>
      </dsp:nvSpPr>
      <dsp:spPr>
        <a:xfrm rot="5400000">
          <a:off x="6991524" y="-1901160"/>
          <a:ext cx="814737" cy="6963664"/>
        </a:xfrm>
        <a:prstGeom prst="round2Same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SYSTEMCACHE ('SQL Plans'); </a:t>
          </a:r>
          <a:endParaRPr lang="en-US" sz="2100" kern="1200" dirty="0"/>
        </a:p>
      </dsp:txBody>
      <dsp:txXfrm rot="-5400000">
        <a:off x="3917061" y="1213075"/>
        <a:ext cx="6923892" cy="735193"/>
      </dsp:txXfrm>
    </dsp:sp>
    <dsp:sp modelId="{F0F2ABF0-2098-442A-BBA1-9185E50D46E2}">
      <dsp:nvSpPr>
        <dsp:cNvPr id="0" name=""/>
        <dsp:cNvSpPr/>
      </dsp:nvSpPr>
      <dsp:spPr>
        <a:xfrm>
          <a:off x="0" y="1071460"/>
          <a:ext cx="3917061" cy="1018421"/>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l plans of a specific type</a:t>
          </a:r>
          <a:endParaRPr lang="en-US" sz="2400" kern="1200" dirty="0"/>
        </a:p>
      </dsp:txBody>
      <dsp:txXfrm>
        <a:off x="49715" y="1121175"/>
        <a:ext cx="3817631" cy="918991"/>
      </dsp:txXfrm>
    </dsp:sp>
    <dsp:sp modelId="{31D3B664-EDD7-4DAD-9904-2AE50D39AA99}">
      <dsp:nvSpPr>
        <dsp:cNvPr id="0" name=""/>
        <dsp:cNvSpPr/>
      </dsp:nvSpPr>
      <dsp:spPr>
        <a:xfrm rot="5400000">
          <a:off x="6991524" y="-831817"/>
          <a:ext cx="814737" cy="6963664"/>
        </a:xfrm>
        <a:prstGeom prst="round2Same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ALTER DATABASE SCOPED CONFIGURATION CLEAR PROCEDURE_CACHE;</a:t>
          </a:r>
          <a:endParaRPr lang="en-US" sz="2100" kern="1200" dirty="0"/>
        </a:p>
      </dsp:txBody>
      <dsp:txXfrm rot="-5400000">
        <a:off x="3917061" y="2282418"/>
        <a:ext cx="6923892" cy="735193"/>
      </dsp:txXfrm>
    </dsp:sp>
    <dsp:sp modelId="{529F1815-6374-487E-B7ED-773539F6D3FD}">
      <dsp:nvSpPr>
        <dsp:cNvPr id="0" name=""/>
        <dsp:cNvSpPr/>
      </dsp:nvSpPr>
      <dsp:spPr>
        <a:xfrm>
          <a:off x="0" y="2140803"/>
          <a:ext cx="3917061" cy="1018421"/>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l plans for a single database</a:t>
          </a:r>
          <a:endParaRPr lang="en-US" sz="2400" kern="1200" dirty="0"/>
        </a:p>
      </dsp:txBody>
      <dsp:txXfrm>
        <a:off x="49715" y="2190518"/>
        <a:ext cx="3817631" cy="918991"/>
      </dsp:txXfrm>
    </dsp:sp>
    <dsp:sp modelId="{6D0BF1A2-C3DB-4A96-AD54-D21D08BD4B29}">
      <dsp:nvSpPr>
        <dsp:cNvPr id="0" name=""/>
        <dsp:cNvSpPr/>
      </dsp:nvSpPr>
      <dsp:spPr>
        <a:xfrm rot="5400000">
          <a:off x="6991524" y="237525"/>
          <a:ext cx="814737" cy="6963664"/>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ALTER DATABASE SCOPED CONFIGURATION CLEAR PROCEDURE_CACHE(&lt;plan_handle&gt;);</a:t>
          </a:r>
          <a:endParaRPr lang="en-US" sz="2100" kern="1200" dirty="0"/>
        </a:p>
      </dsp:txBody>
      <dsp:txXfrm rot="-5400000">
        <a:off x="3917061" y="3351760"/>
        <a:ext cx="6923892" cy="735193"/>
      </dsp:txXfrm>
    </dsp:sp>
    <dsp:sp modelId="{8676FA5C-FA27-4296-8442-63814231789C}">
      <dsp:nvSpPr>
        <dsp:cNvPr id="0" name=""/>
        <dsp:cNvSpPr/>
      </dsp:nvSpPr>
      <dsp:spPr>
        <a:xfrm>
          <a:off x="0" y="3210146"/>
          <a:ext cx="3917061" cy="1018421"/>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 specific plan</a:t>
          </a:r>
          <a:endParaRPr lang="en-US" sz="2400" kern="1200" dirty="0"/>
        </a:p>
      </dsp:txBody>
      <dsp:txXfrm>
        <a:off x="49715" y="3259861"/>
        <a:ext cx="3817631" cy="91899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522A8-711A-4630-958A-12DF3648621E}">
      <dsp:nvSpPr>
        <dsp:cNvPr id="0" name=""/>
        <dsp:cNvSpPr/>
      </dsp:nvSpPr>
      <dsp:spPr>
        <a:xfrm rot="5400000">
          <a:off x="6991524" y="-2970503"/>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 DATABASE </a:t>
          </a:r>
          <a:r>
            <a:rPr lang="en-US" sz="2100" kern="1200" baseline="0" dirty="0"/>
            <a:t>SCOPED CONFIGURATION </a:t>
          </a:r>
          <a:r>
            <a:rPr lang="en-US" sz="2100" kern="1200" baseline="0" dirty="0">
              <a:solidFill>
                <a:srgbClr val="0078D4"/>
              </a:solidFill>
            </a:rPr>
            <a:t>CLEAR</a:t>
          </a:r>
          <a:r>
            <a:rPr lang="en-US" sz="2100" kern="1200" baseline="0" dirty="0"/>
            <a:t> PROCEDURE_CACHE;</a:t>
          </a:r>
          <a:endParaRPr lang="en-US" sz="2100" kern="1200" dirty="0"/>
        </a:p>
      </dsp:txBody>
      <dsp:txXfrm rot="-5400000">
        <a:off x="3917061" y="143732"/>
        <a:ext cx="6923892" cy="735193"/>
      </dsp:txXfrm>
    </dsp:sp>
    <dsp:sp modelId="{57FC79EA-B573-4303-A113-614FA5F58C07}">
      <dsp:nvSpPr>
        <dsp:cNvPr id="0" name=""/>
        <dsp:cNvSpPr/>
      </dsp:nvSpPr>
      <dsp:spPr>
        <a:xfrm>
          <a:off x="0" y="2117"/>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The entire plan cache – all databases</a:t>
          </a:r>
          <a:endParaRPr lang="en-US" sz="2600" kern="1200" dirty="0"/>
        </a:p>
      </dsp:txBody>
      <dsp:txXfrm>
        <a:off x="49715" y="51832"/>
        <a:ext cx="3817631" cy="918991"/>
      </dsp:txXfrm>
    </dsp:sp>
    <dsp:sp modelId="{13482CE1-0B98-4FC6-BA7C-55C81132E1EF}">
      <dsp:nvSpPr>
        <dsp:cNvPr id="0" name=""/>
        <dsp:cNvSpPr/>
      </dsp:nvSpPr>
      <dsp:spPr>
        <a:xfrm rot="5400000">
          <a:off x="6991524" y="-1901160"/>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SYSTEMCACHE ('SQL Plans’); </a:t>
          </a:r>
          <a:endParaRPr lang="en-US" sz="2100" kern="1200" dirty="0"/>
        </a:p>
      </dsp:txBody>
      <dsp:txXfrm rot="-5400000">
        <a:off x="3917061" y="1213075"/>
        <a:ext cx="6923892" cy="735193"/>
      </dsp:txXfrm>
    </dsp:sp>
    <dsp:sp modelId="{F0F2ABF0-2098-442A-BBA1-9185E50D46E2}">
      <dsp:nvSpPr>
        <dsp:cNvPr id="0" name=""/>
        <dsp:cNvSpPr/>
      </dsp:nvSpPr>
      <dsp:spPr>
        <a:xfrm>
          <a:off x="0" y="1071460"/>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ll plans of a specific type</a:t>
          </a:r>
          <a:endParaRPr lang="en-US" sz="2600" kern="1200" dirty="0"/>
        </a:p>
      </dsp:txBody>
      <dsp:txXfrm>
        <a:off x="49715" y="1121175"/>
        <a:ext cx="3817631" cy="918991"/>
      </dsp:txXfrm>
    </dsp:sp>
    <dsp:sp modelId="{31D3B664-EDD7-4DAD-9904-2AE50D39AA99}">
      <dsp:nvSpPr>
        <dsp:cNvPr id="0" name=""/>
        <dsp:cNvSpPr/>
      </dsp:nvSpPr>
      <dsp:spPr>
        <a:xfrm rot="5400000">
          <a:off x="6991524" y="-831817"/>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a:t>
          </a:r>
          <a:r>
            <a:rPr lang="en-US" sz="2100" kern="1200" baseline="0" dirty="0"/>
            <a:t> </a:t>
          </a:r>
          <a:r>
            <a:rPr lang="en-US" sz="2100" kern="1200" baseline="0" dirty="0">
              <a:solidFill>
                <a:srgbClr val="0078D4"/>
              </a:solidFill>
            </a:rPr>
            <a:t>DATABASE</a:t>
          </a:r>
          <a:r>
            <a:rPr lang="en-US" sz="2100" kern="1200" baseline="0" dirty="0"/>
            <a:t> SCOPED CONFIGURATION </a:t>
          </a:r>
          <a:r>
            <a:rPr lang="en-US" sz="2100" kern="1200" baseline="0" dirty="0">
              <a:solidFill>
                <a:srgbClr val="0078D4"/>
              </a:solidFill>
            </a:rPr>
            <a:t>CLEAR</a:t>
          </a:r>
          <a:r>
            <a:rPr lang="en-US" sz="2100" kern="1200" baseline="0" dirty="0"/>
            <a:t> PROCEDURE_CACHE;</a:t>
          </a:r>
          <a:endParaRPr lang="en-US" sz="2100" kern="1200" dirty="0"/>
        </a:p>
      </dsp:txBody>
      <dsp:txXfrm rot="-5400000">
        <a:off x="3917061" y="2282418"/>
        <a:ext cx="6923892" cy="735193"/>
      </dsp:txXfrm>
    </dsp:sp>
    <dsp:sp modelId="{529F1815-6374-487E-B7ED-773539F6D3FD}">
      <dsp:nvSpPr>
        <dsp:cNvPr id="0" name=""/>
        <dsp:cNvSpPr/>
      </dsp:nvSpPr>
      <dsp:spPr>
        <a:xfrm>
          <a:off x="0" y="2140803"/>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ll plans for a single database</a:t>
          </a:r>
          <a:endParaRPr lang="en-US" sz="2600" kern="1200" dirty="0"/>
        </a:p>
      </dsp:txBody>
      <dsp:txXfrm>
        <a:off x="49715" y="2190518"/>
        <a:ext cx="3817631" cy="918991"/>
      </dsp:txXfrm>
    </dsp:sp>
    <dsp:sp modelId="{6D0BF1A2-C3DB-4A96-AD54-D21D08BD4B29}">
      <dsp:nvSpPr>
        <dsp:cNvPr id="0" name=""/>
        <dsp:cNvSpPr/>
      </dsp:nvSpPr>
      <dsp:spPr>
        <a:xfrm rot="5400000">
          <a:off x="6991524" y="237525"/>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a:t>
          </a:r>
          <a:r>
            <a:rPr lang="en-US" sz="2100" kern="1200" baseline="0" dirty="0"/>
            <a:t> </a:t>
          </a:r>
          <a:r>
            <a:rPr lang="en-US" sz="2100" kern="1200" baseline="0" dirty="0">
              <a:solidFill>
                <a:srgbClr val="0078D4"/>
              </a:solidFill>
            </a:rPr>
            <a:t>DATABASE</a:t>
          </a:r>
          <a:r>
            <a:rPr lang="en-US" sz="2100" kern="1200" baseline="0" dirty="0"/>
            <a:t> SCOPED CONFIGURATION </a:t>
          </a:r>
          <a:r>
            <a:rPr lang="en-US" sz="2100" kern="1200" baseline="0" dirty="0">
              <a:solidFill>
                <a:srgbClr val="0078D4"/>
              </a:solidFill>
            </a:rPr>
            <a:t>CLEAR</a:t>
          </a:r>
          <a:r>
            <a:rPr lang="en-US" sz="2100" kern="1200" baseline="0" dirty="0"/>
            <a:t> PROCEDURE_CACHE &lt;plan_handle&gt;;</a:t>
          </a:r>
          <a:endParaRPr lang="en-US" sz="2100" kern="1200" dirty="0"/>
        </a:p>
      </dsp:txBody>
      <dsp:txXfrm rot="-5400000">
        <a:off x="3917061" y="3351760"/>
        <a:ext cx="6923892" cy="735193"/>
      </dsp:txXfrm>
    </dsp:sp>
    <dsp:sp modelId="{8676FA5C-FA27-4296-8442-63814231789C}">
      <dsp:nvSpPr>
        <dsp:cNvPr id="0" name=""/>
        <dsp:cNvSpPr/>
      </dsp:nvSpPr>
      <dsp:spPr>
        <a:xfrm>
          <a:off x="0" y="3210146"/>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 specific plan</a:t>
          </a:r>
          <a:endParaRPr lang="en-US" sz="2600" kern="1200" dirty="0"/>
        </a:p>
      </dsp:txBody>
      <dsp:txXfrm>
        <a:off x="49715" y="3259861"/>
        <a:ext cx="3817631" cy="91899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344A51-086C-4132-8DCA-8D11584234C5}">
      <dsp:nvSpPr>
        <dsp:cNvPr id="0" name=""/>
        <dsp:cNvSpPr/>
      </dsp:nvSpPr>
      <dsp:spPr>
        <a:xfrm rot="5400000">
          <a:off x="7019236" y="-3005822"/>
          <a:ext cx="759314"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u="sng" kern="1200" baseline="0" dirty="0"/>
            <a:t>Any</a:t>
          </a:r>
          <a:r>
            <a:rPr lang="en-US" sz="1800" kern="1200" baseline="0" dirty="0"/>
            <a:t> difference in casing, white space or literal values will affect a hashed value</a:t>
          </a:r>
          <a:endParaRPr lang="en-US" sz="1800" kern="1200" dirty="0"/>
        </a:p>
      </dsp:txBody>
      <dsp:txXfrm rot="-5400000">
        <a:off x="3917062" y="133419"/>
        <a:ext cx="6926597" cy="685180"/>
      </dsp:txXfrm>
    </dsp:sp>
    <dsp:sp modelId="{921C66B1-F72E-469E-A1A5-766BFD69EE6E}">
      <dsp:nvSpPr>
        <dsp:cNvPr id="0" name=""/>
        <dsp:cNvSpPr/>
      </dsp:nvSpPr>
      <dsp:spPr>
        <a:xfrm>
          <a:off x="0" y="1438"/>
          <a:ext cx="3917061" cy="94914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Requires that SQL statements match exactly</a:t>
          </a:r>
          <a:endParaRPr lang="en-US" sz="2500" kern="1200" dirty="0"/>
        </a:p>
      </dsp:txBody>
      <dsp:txXfrm>
        <a:off x="46333" y="47771"/>
        <a:ext cx="3824395" cy="856476"/>
      </dsp:txXfrm>
    </dsp:sp>
    <dsp:sp modelId="{FDA009E2-0319-432B-9F31-DFFAAEDD8B20}">
      <dsp:nvSpPr>
        <dsp:cNvPr id="0" name=""/>
        <dsp:cNvSpPr/>
      </dsp:nvSpPr>
      <dsp:spPr>
        <a:xfrm rot="5400000">
          <a:off x="7019236" y="-2009222"/>
          <a:ext cx="759314" cy="6963664"/>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Simple (on by default) or Forced Parameterization can improve reuse</a:t>
          </a:r>
          <a:endParaRPr lang="en-US" sz="1800" kern="1200" dirty="0"/>
        </a:p>
      </dsp:txBody>
      <dsp:txXfrm rot="-5400000">
        <a:off x="3917062" y="1130019"/>
        <a:ext cx="6926597" cy="685180"/>
      </dsp:txXfrm>
    </dsp:sp>
    <dsp:sp modelId="{39CC2B3E-3196-4D9F-86CF-8A88B8AB8052}">
      <dsp:nvSpPr>
        <dsp:cNvPr id="0" name=""/>
        <dsp:cNvSpPr/>
      </dsp:nvSpPr>
      <dsp:spPr>
        <a:xfrm>
          <a:off x="0" y="998038"/>
          <a:ext cx="3917061" cy="94914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Less likely for </a:t>
          </a:r>
          <a:r>
            <a:rPr lang="en-US" sz="2500" i="1" kern="1200" baseline="0" dirty="0"/>
            <a:t>ad hoc </a:t>
          </a:r>
          <a:r>
            <a:rPr lang="en-US" sz="2500" kern="1200" baseline="0" dirty="0"/>
            <a:t>SQL statements</a:t>
          </a:r>
          <a:endParaRPr lang="en-US" sz="2500" kern="1200" dirty="0"/>
        </a:p>
      </dsp:txBody>
      <dsp:txXfrm>
        <a:off x="46333" y="1044371"/>
        <a:ext cx="3824395" cy="856476"/>
      </dsp:txXfrm>
    </dsp:sp>
    <dsp:sp modelId="{DBDF4D6F-4375-4583-A571-22E5E09D9615}">
      <dsp:nvSpPr>
        <dsp:cNvPr id="0" name=""/>
        <dsp:cNvSpPr/>
      </dsp:nvSpPr>
      <dsp:spPr>
        <a:xfrm rot="5400000">
          <a:off x="7019236" y="-1012622"/>
          <a:ext cx="759314" cy="6963664"/>
        </a:xfrm>
        <a:prstGeom prst="round2Same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Stored procedures, Functions, Triggers</a:t>
          </a:r>
          <a:endParaRPr lang="en-US" sz="1800" kern="1200" dirty="0"/>
        </a:p>
        <a:p>
          <a:pPr marL="171450" lvl="1" indent="-171450" algn="l" defTabSz="800100">
            <a:lnSpc>
              <a:spcPct val="90000"/>
            </a:lnSpc>
            <a:spcBef>
              <a:spcPct val="0"/>
            </a:spcBef>
            <a:spcAft>
              <a:spcPct val="15000"/>
            </a:spcAft>
            <a:buChar char="•"/>
          </a:pPr>
          <a:r>
            <a:rPr lang="en-US" sz="1800" kern="1200" baseline="0" dirty="0"/>
            <a:t>Prepared statements and parameterized queries (sp_executesql)</a:t>
          </a:r>
          <a:endParaRPr lang="en-US" sz="1800" kern="1200" dirty="0"/>
        </a:p>
      </dsp:txBody>
      <dsp:txXfrm rot="-5400000">
        <a:off x="3917062" y="2126619"/>
        <a:ext cx="6926597" cy="685180"/>
      </dsp:txXfrm>
    </dsp:sp>
    <dsp:sp modelId="{CC07D088-4892-4E5C-8123-1ABF1BF7BA81}">
      <dsp:nvSpPr>
        <dsp:cNvPr id="0" name=""/>
        <dsp:cNvSpPr/>
      </dsp:nvSpPr>
      <dsp:spPr>
        <a:xfrm>
          <a:off x="0" y="1994638"/>
          <a:ext cx="3917061" cy="949142"/>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Most easily achieved using:</a:t>
          </a:r>
          <a:endParaRPr lang="en-US" sz="2500" kern="1200" dirty="0"/>
        </a:p>
      </dsp:txBody>
      <dsp:txXfrm>
        <a:off x="46333" y="2040971"/>
        <a:ext cx="3824395" cy="85647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1.01.2023</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1/2023</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t-sql/database-console-commands/dbcc-freeproccache-transact-sql?view=sql-server-ver15"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docs.microsoft.com/en-us/sql/t-sql/database-console-commands/dbcc-freesystemcache-transact-sql?view=sql-server-ver15"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t-sql/database-console-commands/dbcc-freeproccache-transact-sql?view=sql-server-ver15"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docs.microsoft.com/en-us/sql/t-sql/database-console-commands/dbcc-freesystemcache-transact-sql?view=sql-server-ver15"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t-sql/statements/alter-database-transact-sql-set-options?view=sql-server-ver15" TargetMode="External"/><Relationship Id="rId7" Type="http://schemas.openxmlformats.org/officeDocument/2006/relationships/hyperlink" Target="https://docs.microsoft.com/en-us/sql/relational-databases/system-catalog-views/sys-query-store-query-transact-sql"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cs.microsoft.com/en-us/archive/blogs/psssql/how-simple-parameterization-works" TargetMode="External"/><Relationship Id="rId5" Type="http://schemas.openxmlformats.org/officeDocument/2006/relationships/hyperlink" Target="https://docs.microsoft.com/en-us/sql/relational-databases/query-processing-architecture-guide?view=sql-server-ver15#ForcedParam" TargetMode="External"/><Relationship Id="rId4" Type="http://schemas.openxmlformats.org/officeDocument/2006/relationships/hyperlink" Target="https://docs.microsoft.com/en-us/sql/relational-databases/query-processing-architecture-guide?view=sql-server-ver15#SimpleParam"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t-sql/queries/hints-transact-sql-query?view=sql-server-ver15"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docs.microsoft.com/en-us/sql/relational-databases/system-stored-procedures/sp-recompile-transact-sql?view=sql-server-ver15" TargetMode="External"/><Relationship Id="rId4" Type="http://schemas.openxmlformats.org/officeDocument/2006/relationships/hyperlink" Target="https://docs.microsoft.com/en-us/sql/t-sql/statements/create-procedure-transact-sql?view=sql-server-ver15"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exec-cached-plans-transact-sql?view=sql-server-ver15" TargetMode="External"/><Relationship Id="rId7" Type="http://schemas.openxmlformats.org/officeDocument/2006/relationships/hyperlink" Target="https://docs.microsoft.com/en-us/sql/relational-databases/system-dynamic-management-views/sys-dm-exec-sql-text-transact-sql?view=sql-server-ver15"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docs.microsoft.com/en-us/sql/relational-databases/system-dynamic-management-views/sys-dm-exec-query-plan-transact-sql?view=sql-server-ver15" TargetMode="External"/><Relationship Id="rId5" Type="http://schemas.openxmlformats.org/officeDocument/2006/relationships/hyperlink" Target="https://docs.microsoft.com/en-us/sql/relational-databases/system-dynamic-management-views/sys-dm-exec-procedure-stats-transact-sql?view=sql-server-ver15" TargetMode="External"/><Relationship Id="rId4" Type="http://schemas.openxmlformats.org/officeDocument/2006/relationships/hyperlink" Target="https://docs.microsoft.com/en-us/sql/relational-databases/system-dynamic-management-views/sys-dm-exec-query-stats-transact-sql?view=sql-server-ver15"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exec-query-stats-transact-sql?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database-engine/configure-windows/optimize-for-ad-hoc-workloads-server-configuration-option?view=sql-server-ver15"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DBCC FREEPROCCACHE [ ( { plan_handle | sql_handle | pool_name } ) ] [ WITH NO_INFOMSGS ] </a:t>
            </a:r>
          </a:p>
          <a:p>
            <a:r>
              <a:rPr lang="en-US" dirty="0">
                <a:hlinkClick r:id="rId3"/>
              </a:rPr>
              <a:t>https://docs.microsoft.com/en-us/sql/t-sql/database-console-commands/dbcc-freeproccache-transact-sql?view=sql-server-ver15</a:t>
            </a:r>
            <a:endParaRPr lang="en-US" dirty="0"/>
          </a:p>
          <a:p>
            <a:r>
              <a:rPr lang="en-US" sz="882" b="0" i="0" kern="1200" baseline="0" dirty="0">
                <a:solidFill>
                  <a:schemeClr val="tx1"/>
                </a:solidFill>
                <a:effectLst/>
                <a:latin typeface="+mn-lt"/>
                <a:ea typeface="+mn-ea"/>
                <a:cs typeface="+mn-cs"/>
              </a:rPr>
              <a:t>Removes all elements from the plan cache, removes a specific plan from the plan cache by specifying a plan handle or SQL handle, or removes all cache entries associated with a specified resource pool.</a:t>
            </a:r>
            <a:endParaRPr lang="en-US" dirty="0"/>
          </a:p>
          <a:p>
            <a:endParaRPr lang="en-US" dirty="0"/>
          </a:p>
          <a:p>
            <a:r>
              <a:rPr lang="en-US" sz="882" b="0" i="0" kern="1200" baseline="0" dirty="0">
                <a:solidFill>
                  <a:schemeClr val="tx1"/>
                </a:solidFill>
                <a:effectLst/>
                <a:latin typeface="+mn-lt"/>
                <a:ea typeface="+mn-ea"/>
                <a:cs typeface="+mn-cs"/>
              </a:rPr>
              <a:t>DBCC FREESYSTEMCACHE ( 'ALL' [, pool_name ] ) [WITH { [ MARK_IN_USE_FOR_REMOVAL ] , [ NO_INFOMSGS ] } ] </a:t>
            </a:r>
          </a:p>
          <a:p>
            <a:r>
              <a:rPr lang="en-US" dirty="0">
                <a:hlinkClick r:id="rId4"/>
              </a:rPr>
              <a:t>https://docs.microsoft.com/en-us/sql/t-sql/database-console-commands/dbcc-freesystemcache-transact-sql?view=sql-server-ver15</a:t>
            </a:r>
            <a:endParaRPr lang="en-US" dirty="0"/>
          </a:p>
          <a:p>
            <a:r>
              <a:rPr lang="en-US" sz="882" b="0" i="0" kern="1200" baseline="0" dirty="0">
                <a:solidFill>
                  <a:schemeClr val="tx1"/>
                </a:solidFill>
                <a:effectLst/>
                <a:latin typeface="+mn-lt"/>
                <a:ea typeface="+mn-ea"/>
                <a:cs typeface="+mn-cs"/>
              </a:rPr>
              <a:t>Releases all unused cache entries from </a:t>
            </a:r>
            <a:r>
              <a:rPr lang="en-US" sz="882" b="1" i="0" kern="1200" baseline="0" dirty="0">
                <a:solidFill>
                  <a:schemeClr val="tx1"/>
                </a:solidFill>
                <a:effectLst/>
                <a:latin typeface="+mn-lt"/>
                <a:ea typeface="+mn-ea"/>
                <a:cs typeface="+mn-cs"/>
              </a:rPr>
              <a:t>all</a:t>
            </a:r>
            <a:r>
              <a:rPr lang="en-US" sz="882" b="0" i="0" kern="1200" baseline="0" dirty="0">
                <a:solidFill>
                  <a:schemeClr val="tx1"/>
                </a:solidFill>
                <a:effectLst/>
                <a:latin typeface="+mn-lt"/>
                <a:ea typeface="+mn-ea"/>
                <a:cs typeface="+mn-cs"/>
              </a:rPr>
              <a:t> caches – not just the plan cache.  Using the ‘SQL Plans’ parameter will flush both </a:t>
            </a:r>
            <a:r>
              <a:rPr lang="en-US" sz="882" b="0" i="1" kern="1200" baseline="0" dirty="0">
                <a:solidFill>
                  <a:schemeClr val="tx1"/>
                </a:solidFill>
                <a:effectLst/>
                <a:latin typeface="+mn-lt"/>
                <a:ea typeface="+mn-ea"/>
                <a:cs typeface="+mn-cs"/>
              </a:rPr>
              <a:t>ad hoc </a:t>
            </a:r>
            <a:r>
              <a:rPr lang="en-US" sz="882" b="0" i="0" kern="1200" baseline="0" dirty="0">
                <a:solidFill>
                  <a:schemeClr val="tx1"/>
                </a:solidFill>
                <a:effectLst/>
                <a:latin typeface="+mn-lt"/>
                <a:ea typeface="+mn-ea"/>
                <a:cs typeface="+mn-cs"/>
              </a:rPr>
              <a:t>and prepared plans from the cache.</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290232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SAMPLE CODE:</a:t>
            </a:r>
          </a:p>
          <a:p>
            <a:r>
              <a:rPr lang="en-US" sz="882" b="1" i="0" kern="1200" baseline="0" dirty="0">
                <a:solidFill>
                  <a:schemeClr val="tx1"/>
                </a:solidFill>
                <a:effectLst/>
                <a:latin typeface="+mn-lt"/>
                <a:ea typeface="+mn-ea"/>
                <a:cs typeface="+mn-cs"/>
              </a:rPr>
              <a:t>-- for 1 QUERY</a:t>
            </a:r>
            <a:br>
              <a:rPr lang="en-US" sz="882" b="1" i="0" kern="1200" baseline="0" dirty="0">
                <a:solidFill>
                  <a:schemeClr val="tx1"/>
                </a:solidFill>
                <a:effectLst/>
                <a:latin typeface="+mn-lt"/>
                <a:ea typeface="+mn-ea"/>
                <a:cs typeface="+mn-cs"/>
              </a:rPr>
            </a:br>
            <a:r>
              <a:rPr lang="en-US" sz="882" kern="1200" baseline="0" dirty="0">
                <a:solidFill>
                  <a:schemeClr val="tx1"/>
                </a:solidFill>
                <a:latin typeface="+mn-lt"/>
                <a:ea typeface="+mn-ea"/>
                <a:cs typeface="+mn-cs"/>
              </a:rPr>
              <a:t>USE AdventureWorksPTO;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plan_handle, st.text  </a:t>
            </a:r>
          </a:p>
          <a:p>
            <a:r>
              <a:rPr lang="en-US" sz="882" kern="1200" baseline="0" dirty="0">
                <a:solidFill>
                  <a:schemeClr val="tx1"/>
                </a:solidFill>
                <a:latin typeface="+mn-lt"/>
                <a:ea typeface="+mn-ea"/>
                <a:cs typeface="+mn-cs"/>
              </a:rPr>
              <a:t>FROM sys.dm_exec_cached_plans   </a:t>
            </a:r>
          </a:p>
          <a:p>
            <a:r>
              <a:rPr lang="en-US" sz="882" kern="1200" baseline="0" dirty="0">
                <a:solidFill>
                  <a:schemeClr val="tx1"/>
                </a:solidFill>
                <a:latin typeface="+mn-lt"/>
                <a:ea typeface="+mn-ea"/>
                <a:cs typeface="+mn-cs"/>
              </a:rPr>
              <a:t>CROSS APPLY sys.dm_exec_sql_text(plan_handle) AS st  </a:t>
            </a:r>
          </a:p>
          <a:p>
            <a:r>
              <a:rPr lang="en-US" sz="882" kern="1200" baseline="0" dirty="0">
                <a:solidFill>
                  <a:schemeClr val="tx1"/>
                </a:solidFill>
                <a:latin typeface="+mn-lt"/>
                <a:ea typeface="+mn-ea"/>
                <a:cs typeface="+mn-cs"/>
              </a:rPr>
              <a:t>WHERE text LIKE N'SELECT * FROM Person.Address%';  </a:t>
            </a:r>
          </a:p>
          <a:p>
            <a:r>
              <a:rPr lang="en-US" sz="882" kern="1200" baseline="0" dirty="0">
                <a:solidFill>
                  <a:schemeClr val="tx1"/>
                </a:solidFill>
                <a:latin typeface="+mn-lt"/>
                <a:ea typeface="+mn-ea"/>
                <a:cs typeface="+mn-cs"/>
              </a:rPr>
              <a:t>GO</a:t>
            </a:r>
          </a:p>
          <a:p>
            <a:r>
              <a:rPr lang="en-US" sz="882" kern="1200" baseline="0" dirty="0">
                <a:solidFill>
                  <a:schemeClr val="tx1"/>
                </a:solidFill>
                <a:latin typeface="+mn-lt"/>
                <a:ea typeface="+mn-ea"/>
                <a:cs typeface="+mn-cs"/>
              </a:rPr>
              <a:t>-- Remove the specific plan from the cache.  </a:t>
            </a:r>
          </a:p>
          <a:p>
            <a:r>
              <a:rPr lang="en-US" sz="882" kern="1200" baseline="0" dirty="0">
                <a:solidFill>
                  <a:schemeClr val="tx1"/>
                </a:solidFill>
                <a:latin typeface="+mn-lt"/>
                <a:ea typeface="+mn-ea"/>
                <a:cs typeface="+mn-cs"/>
              </a:rPr>
              <a:t>ALTER DATABASE SCOPED CONFIGURATION </a:t>
            </a:r>
          </a:p>
          <a:p>
            <a:r>
              <a:rPr lang="en-US" sz="882" kern="1200" baseline="0" dirty="0">
                <a:solidFill>
                  <a:schemeClr val="tx1"/>
                </a:solidFill>
                <a:latin typeface="+mn-lt"/>
                <a:ea typeface="+mn-ea"/>
                <a:cs typeface="+mn-cs"/>
              </a:rPr>
              <a:t>CLEAR PROCEDURE_CACHE 0x060008005341261C208A0310A101000001000000000000000000000000000000000000000000000000000000;</a:t>
            </a:r>
          </a:p>
          <a:p>
            <a:r>
              <a:rPr lang="en-US" sz="882" kern="1200" baseline="0" dirty="0">
                <a:solidFill>
                  <a:schemeClr val="tx1"/>
                </a:solidFill>
                <a:latin typeface="+mn-lt"/>
                <a:ea typeface="+mn-ea"/>
                <a:cs typeface="+mn-cs"/>
              </a:rPr>
              <a:t>-- Remove the specific plan from the cache.  </a:t>
            </a:r>
          </a:p>
          <a:p>
            <a:r>
              <a:rPr lang="en-US" sz="882" kern="1200" baseline="0" dirty="0">
                <a:solidFill>
                  <a:schemeClr val="tx1"/>
                </a:solidFill>
                <a:latin typeface="+mn-lt"/>
                <a:ea typeface="+mn-ea"/>
                <a:cs typeface="+mn-cs"/>
              </a:rPr>
              <a:t>DBCC FREEPROCCACHE   (0x060008005341261C208A0310A101000001000000000000000000000000000000000000000000000000000000);</a:t>
            </a:r>
          </a:p>
          <a:p>
            <a:r>
              <a:rPr lang="en-US" sz="882" kern="1200" baseline="0" dirty="0">
                <a:solidFill>
                  <a:schemeClr val="tx1"/>
                </a:solidFill>
                <a:latin typeface="+mn-lt"/>
                <a:ea typeface="+mn-ea"/>
                <a:cs typeface="+mn-cs"/>
              </a:rPr>
              <a:t>GO</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 for all queries for the database:</a:t>
            </a:r>
          </a:p>
          <a:p>
            <a:r>
              <a:rPr lang="en-US" sz="882" kern="1200" baseline="0" dirty="0">
                <a:solidFill>
                  <a:schemeClr val="tx1"/>
                </a:solidFill>
                <a:latin typeface="+mn-lt"/>
                <a:ea typeface="+mn-ea"/>
                <a:cs typeface="+mn-cs"/>
              </a:rPr>
              <a:t>USE AdventureWorksPTO;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WHERE addressId = 2;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WHERE StateProvinceID=79;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plan_handle, st.text  </a:t>
            </a:r>
          </a:p>
          <a:p>
            <a:r>
              <a:rPr lang="en-US" sz="882" kern="1200" baseline="0" dirty="0">
                <a:solidFill>
                  <a:schemeClr val="tx1"/>
                </a:solidFill>
                <a:latin typeface="+mn-lt"/>
                <a:ea typeface="+mn-ea"/>
                <a:cs typeface="+mn-cs"/>
              </a:rPr>
              <a:t>FROM sys.dm_exec_cached_plans   </a:t>
            </a:r>
          </a:p>
          <a:p>
            <a:r>
              <a:rPr lang="en-US" sz="882" kern="1200" baseline="0" dirty="0">
                <a:solidFill>
                  <a:schemeClr val="tx1"/>
                </a:solidFill>
                <a:latin typeface="+mn-lt"/>
                <a:ea typeface="+mn-ea"/>
                <a:cs typeface="+mn-cs"/>
              </a:rPr>
              <a:t>CROSS APPLY sys.dm_exec_sql_text(plan_handle) AS st  </a:t>
            </a:r>
          </a:p>
          <a:p>
            <a:r>
              <a:rPr lang="en-US" sz="882" kern="1200" baseline="0" dirty="0">
                <a:solidFill>
                  <a:schemeClr val="tx1"/>
                </a:solidFill>
                <a:latin typeface="+mn-lt"/>
                <a:ea typeface="+mn-ea"/>
                <a:cs typeface="+mn-cs"/>
              </a:rPr>
              <a:t>WHERE text LIKE N'SELECT * FROM Person.Address%';  </a:t>
            </a:r>
          </a:p>
          <a:p>
            <a:r>
              <a:rPr lang="en-US" sz="882" kern="1200" baseline="0" dirty="0">
                <a:solidFill>
                  <a:schemeClr val="tx1"/>
                </a:solidFill>
                <a:latin typeface="+mn-lt"/>
                <a:ea typeface="+mn-ea"/>
                <a:cs typeface="+mn-cs"/>
              </a:rPr>
              <a:t>GO</a:t>
            </a:r>
          </a:p>
          <a:p>
            <a:r>
              <a:rPr lang="en-US" sz="882" kern="1200" baseline="0" dirty="0">
                <a:solidFill>
                  <a:schemeClr val="tx1"/>
                </a:solidFill>
                <a:latin typeface="+mn-lt"/>
                <a:ea typeface="+mn-ea"/>
                <a:cs typeface="+mn-cs"/>
              </a:rPr>
              <a:t>-- REMOVE all plans for database</a:t>
            </a:r>
          </a:p>
          <a:p>
            <a:r>
              <a:rPr lang="en-US" sz="882" kern="1200" baseline="0" dirty="0">
                <a:solidFill>
                  <a:schemeClr val="tx1"/>
                </a:solidFill>
                <a:latin typeface="+mn-lt"/>
                <a:ea typeface="+mn-ea"/>
                <a:cs typeface="+mn-cs"/>
              </a:rPr>
              <a:t>ALTER DATABASE SCOPED CONFIGURATION CLEAR PROCEDURE_CACHE;</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DBCC FREEPROCCACHE [ ( { plan_handle | sql_handle | pool_name } ) ] [ WITH NO_INFOMSGS ] </a:t>
            </a:r>
          </a:p>
          <a:p>
            <a:r>
              <a:rPr lang="en-US" dirty="0">
                <a:hlinkClick r:id="rId3"/>
              </a:rPr>
              <a:t>https://docs.microsoft.com/en-us/sql/t-sql/database-console-commands/dbcc-freeproccache-transact-sql?view=sql-server-ver15</a:t>
            </a:r>
            <a:endParaRPr lang="en-US" dirty="0"/>
          </a:p>
          <a:p>
            <a:r>
              <a:rPr lang="en-US" sz="882" b="0" i="0" kern="1200" baseline="0" dirty="0">
                <a:solidFill>
                  <a:schemeClr val="tx1"/>
                </a:solidFill>
                <a:effectLst/>
                <a:latin typeface="+mn-lt"/>
                <a:ea typeface="+mn-ea"/>
                <a:cs typeface="+mn-cs"/>
              </a:rPr>
              <a:t>Removes all elements from the plan cache, removes a specific plan from the plan cache by specifying a plan handle or SQL handle, or removes all cache entries associated with a specified resource pool.</a:t>
            </a:r>
            <a:endParaRPr lang="en-US" dirty="0"/>
          </a:p>
          <a:p>
            <a:endParaRPr lang="en-US" dirty="0"/>
          </a:p>
          <a:p>
            <a:r>
              <a:rPr lang="en-US" sz="882" b="0" i="0" kern="1200" baseline="0" dirty="0">
                <a:solidFill>
                  <a:schemeClr val="tx1"/>
                </a:solidFill>
                <a:effectLst/>
                <a:latin typeface="+mn-lt"/>
                <a:ea typeface="+mn-ea"/>
                <a:cs typeface="+mn-cs"/>
              </a:rPr>
              <a:t>DBCC FREESYSTEMCACHE ( 'ALL' [, pool_name ] ) [WITH { [ MARK_IN_USE_FOR_REMOVAL ] , [ NO_INFOMSGS ] } ] </a:t>
            </a:r>
          </a:p>
          <a:p>
            <a:r>
              <a:rPr lang="en-US" dirty="0">
                <a:hlinkClick r:id="rId4"/>
              </a:rPr>
              <a:t>https://docs.microsoft.com/en-us/sql/t-sql/database-console-commands/dbcc-freesystemcache-transact-sql?view=sql-server-ver15</a:t>
            </a:r>
            <a:endParaRPr lang="en-US" dirty="0"/>
          </a:p>
          <a:p>
            <a:r>
              <a:rPr lang="en-US" sz="882" b="0" i="0" kern="1200" baseline="0" dirty="0">
                <a:solidFill>
                  <a:schemeClr val="tx1"/>
                </a:solidFill>
                <a:effectLst/>
                <a:latin typeface="+mn-lt"/>
                <a:ea typeface="+mn-ea"/>
                <a:cs typeface="+mn-cs"/>
              </a:rPr>
              <a:t>Releases all unused cache entries from </a:t>
            </a:r>
            <a:r>
              <a:rPr lang="en-US" sz="882" b="1" i="0" kern="1200" baseline="0" dirty="0">
                <a:solidFill>
                  <a:schemeClr val="tx1"/>
                </a:solidFill>
                <a:effectLst/>
                <a:latin typeface="+mn-lt"/>
                <a:ea typeface="+mn-ea"/>
                <a:cs typeface="+mn-cs"/>
              </a:rPr>
              <a:t>all</a:t>
            </a:r>
            <a:r>
              <a:rPr lang="en-US" sz="882" b="0" i="0" kern="1200" baseline="0" dirty="0">
                <a:solidFill>
                  <a:schemeClr val="tx1"/>
                </a:solidFill>
                <a:effectLst/>
                <a:latin typeface="+mn-lt"/>
                <a:ea typeface="+mn-ea"/>
                <a:cs typeface="+mn-cs"/>
              </a:rPr>
              <a:t> caches – not just the plan cache.  Using the ‘SQL Plans’ parameter will flush both </a:t>
            </a:r>
            <a:r>
              <a:rPr lang="en-US" sz="882" b="0" i="1" kern="1200" baseline="0" dirty="0">
                <a:solidFill>
                  <a:schemeClr val="tx1"/>
                </a:solidFill>
                <a:effectLst/>
                <a:latin typeface="+mn-lt"/>
                <a:ea typeface="+mn-ea"/>
                <a:cs typeface="+mn-cs"/>
              </a:rPr>
              <a:t>ad hoc </a:t>
            </a:r>
            <a:r>
              <a:rPr lang="en-US" sz="882" b="0" i="0" kern="1200" baseline="0" dirty="0">
                <a:solidFill>
                  <a:schemeClr val="tx1"/>
                </a:solidFill>
                <a:effectLst/>
                <a:latin typeface="+mn-lt"/>
                <a:ea typeface="+mn-ea"/>
                <a:cs typeface="+mn-cs"/>
              </a:rPr>
              <a:t>and prepared plans from the cache.</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35196927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ALTER DATABASE SET PARAMETERIZATION { </a:t>
            </a:r>
            <a:r>
              <a:rPr lang="en-US" sz="882" b="1" i="0" kern="1200" baseline="0" dirty="0">
                <a:solidFill>
                  <a:schemeClr val="tx1"/>
                </a:solidFill>
                <a:effectLst/>
                <a:latin typeface="+mn-lt"/>
                <a:ea typeface="+mn-ea"/>
                <a:cs typeface="+mn-cs"/>
              </a:rPr>
              <a:t>SIMPLE</a:t>
            </a:r>
            <a:r>
              <a:rPr lang="en-US" sz="882" b="0" i="0" kern="1200" baseline="0" dirty="0">
                <a:solidFill>
                  <a:schemeClr val="tx1"/>
                </a:solidFill>
                <a:effectLst/>
                <a:latin typeface="+mn-lt"/>
                <a:ea typeface="+mn-ea"/>
                <a:cs typeface="+mn-cs"/>
              </a:rPr>
              <a:t> | FORCED };</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docs.microsoft.com/en-us/sql/t-sql/statements/alter-database-transact-sql-set-options?view=sql-server-ver15</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Simple Parameteriz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4"/>
              </a:rPr>
              <a:t>https://docs.microsoft.com/en-us/sql/relational-databases/query-processing-architecture-guide?view=sql-server-ver15#SimpleParam</a:t>
            </a: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ced Parameteriz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5"/>
              </a:rPr>
              <a:t>https://docs.microsoft.com/en-us/sql/relational-databases/query-processing-architecture-guide?view=sql-server-ver15#ForcedParam</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How Simple Parameterization works</a:t>
            </a:r>
          </a:p>
          <a:p>
            <a:r>
              <a:rPr lang="en-US" dirty="0">
                <a:hlinkClick r:id="rId6"/>
              </a:rPr>
              <a:t>https://docs.microsoft.com/en-us/archive/blogs/psssql/how-simple-parameterization-works</a:t>
            </a:r>
            <a:endParaRPr lang="en-US" dirty="0"/>
          </a:p>
          <a:p>
            <a:endParaRPr lang="en-US" dirty="0"/>
          </a:p>
          <a:p>
            <a:pPr fontAlgn="base"/>
            <a:r>
              <a:rPr lang="en-US" sz="882" b="0" i="0" kern="1200" baseline="0" dirty="0">
                <a:solidFill>
                  <a:schemeClr val="tx1"/>
                </a:solidFill>
                <a:effectLst/>
                <a:latin typeface="+mn-lt"/>
                <a:ea typeface="+mn-ea"/>
                <a:cs typeface="+mn-cs"/>
              </a:rPr>
              <a:t>Simple parameterization is enabled by default.  Check the StatementParameterizationType attribute value in an </a:t>
            </a:r>
            <a:r>
              <a:rPr lang="en-US" sz="882" b="1" i="0" kern="1200" baseline="0" dirty="0">
                <a:solidFill>
                  <a:schemeClr val="tx1"/>
                </a:solidFill>
                <a:effectLst/>
                <a:latin typeface="+mn-lt"/>
                <a:ea typeface="+mn-ea"/>
                <a:cs typeface="+mn-cs"/>
              </a:rPr>
              <a:t>actual</a:t>
            </a:r>
            <a:r>
              <a:rPr lang="en-US" sz="882" b="0" i="0" kern="1200" baseline="0" dirty="0">
                <a:solidFill>
                  <a:schemeClr val="tx1"/>
                </a:solidFill>
                <a:effectLst/>
                <a:latin typeface="+mn-lt"/>
                <a:ea typeface="+mn-ea"/>
                <a:cs typeface="+mn-cs"/>
              </a:rPr>
              <a:t> execution plan to see whether parameterization applied.  The values are documented in </a:t>
            </a:r>
            <a:r>
              <a:rPr lang="en-US" sz="882" b="0" i="0" u="sng" kern="1200" baseline="0" dirty="0">
                <a:solidFill>
                  <a:schemeClr val="tx1"/>
                </a:solidFill>
                <a:effectLst/>
                <a:latin typeface="+mn-lt"/>
                <a:ea typeface="+mn-ea"/>
                <a:cs typeface="+mn-cs"/>
                <a:hlinkClick r:id="rId7"/>
              </a:rPr>
              <a:t>sys.query_store_query</a:t>
            </a:r>
            <a:r>
              <a:rPr lang="en-US" sz="882" b="0" i="0" kern="1200" baseline="0" dirty="0">
                <a:solidFill>
                  <a:schemeClr val="tx1"/>
                </a:solidFill>
                <a:effectLst/>
                <a:latin typeface="+mn-lt"/>
                <a:ea typeface="+mn-ea"/>
                <a:cs typeface="+mn-cs"/>
              </a:rPr>
              <a:t>:</a:t>
            </a:r>
          </a:p>
          <a:p>
            <a:pPr lvl="1" fontAlgn="base"/>
            <a:r>
              <a:rPr lang="en-US" sz="882" b="0" i="0" kern="1200" baseline="0" dirty="0">
                <a:solidFill>
                  <a:schemeClr val="tx1"/>
                </a:solidFill>
                <a:effectLst/>
                <a:latin typeface="+mn-lt"/>
                <a:ea typeface="+mn-ea"/>
                <a:cs typeface="+mn-cs"/>
              </a:rPr>
              <a:t>0 = None</a:t>
            </a:r>
          </a:p>
          <a:p>
            <a:pPr lvl="1" fontAlgn="base"/>
            <a:r>
              <a:rPr lang="en-US" sz="882" b="0" i="0" kern="1200" baseline="0" dirty="0">
                <a:solidFill>
                  <a:schemeClr val="tx1"/>
                </a:solidFill>
                <a:effectLst/>
                <a:latin typeface="+mn-lt"/>
                <a:ea typeface="+mn-ea"/>
                <a:cs typeface="+mn-cs"/>
              </a:rPr>
              <a:t>1 = User</a:t>
            </a:r>
          </a:p>
          <a:p>
            <a:pPr lvl="1" fontAlgn="base"/>
            <a:r>
              <a:rPr lang="en-US" sz="882" b="0" i="0" kern="1200" baseline="0" dirty="0">
                <a:solidFill>
                  <a:schemeClr val="tx1"/>
                </a:solidFill>
                <a:effectLst/>
                <a:latin typeface="+mn-lt"/>
                <a:ea typeface="+mn-ea"/>
                <a:cs typeface="+mn-cs"/>
              </a:rPr>
              <a:t>2 = Simple</a:t>
            </a:r>
          </a:p>
          <a:p>
            <a:pPr lvl="1" fontAlgn="base"/>
            <a:r>
              <a:rPr lang="en-US" sz="882" b="0" i="0" kern="1200" baseline="0" dirty="0">
                <a:solidFill>
                  <a:schemeClr val="tx1"/>
                </a:solidFill>
                <a:effectLst/>
                <a:latin typeface="+mn-lt"/>
                <a:ea typeface="+mn-ea"/>
                <a:cs typeface="+mn-cs"/>
              </a:rPr>
              <a:t>3 = Forced</a:t>
            </a:r>
          </a:p>
          <a:p>
            <a:endParaRPr lang="en-US" dirty="0"/>
          </a:p>
          <a:p>
            <a:endParaRPr lang="en-US" dirty="0"/>
          </a:p>
          <a:p>
            <a:r>
              <a:rPr lang="en-US" dirty="0"/>
              <a:t>Note the use (and value of) UNION ALL compared to UNION (which has an implicit DISTINCT)</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3029720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sql/t-sql/queries/hints-transact-sql-query?view=sql-server-ver15</a:t>
            </a:r>
            <a:endParaRPr lang="en-US" dirty="0"/>
          </a:p>
          <a:p>
            <a:r>
              <a:rPr lang="en-US" sz="882" b="0" i="0" kern="1200" baseline="0" dirty="0">
                <a:solidFill>
                  <a:schemeClr val="tx1"/>
                </a:solidFill>
                <a:effectLst/>
                <a:latin typeface="+mn-lt"/>
                <a:ea typeface="+mn-ea"/>
                <a:cs typeface="+mn-cs"/>
              </a:rPr>
              <a:t>OPTION(RECOMPILE) query hint</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nstructs the SQL Server Database Engine to generate a new, temporary plan for the query and immediately discard that plan after the query completes execution. The generated query plan doesn't replace a plan stored in cache when the same query runs without the RECOMPILE hint. Without specifying RECOMPILE, the Database Engine caches query plans and reuses them. When compiling query plans, the RECOMPILE query hint uses the current values of any local variables in the query. If the query is inside a stored procedure, the current values passed to any parameters.</a:t>
            </a:r>
          </a:p>
          <a:p>
            <a:endParaRPr lang="en-US" dirty="0"/>
          </a:p>
          <a:p>
            <a:r>
              <a:rPr lang="en-US" dirty="0">
                <a:hlinkClick r:id="rId4"/>
              </a:rPr>
              <a:t>https://docs.microsoft.com/en-us/sql/t-sql/statements/create-procedure-transact-sql?view=sql-server-ver15</a:t>
            </a:r>
            <a:endParaRPr lang="en-US" dirty="0"/>
          </a:p>
          <a:p>
            <a:r>
              <a:rPr lang="en-US" sz="882" b="0" i="0" kern="1200" baseline="0" dirty="0">
                <a:solidFill>
                  <a:schemeClr val="tx1"/>
                </a:solidFill>
                <a:effectLst/>
                <a:latin typeface="+mn-lt"/>
                <a:ea typeface="+mn-ea"/>
                <a:cs typeface="+mn-cs"/>
              </a:rPr>
              <a:t>CREATE PROC dbo.MyProc WITH RECOMPILE</a:t>
            </a:r>
            <a:br>
              <a:rPr lang="en-US" dirty="0"/>
            </a:br>
            <a:r>
              <a:rPr lang="en-US" sz="882" b="0" i="0" kern="1200" baseline="0" dirty="0">
                <a:solidFill>
                  <a:schemeClr val="tx1"/>
                </a:solidFill>
                <a:effectLst/>
                <a:latin typeface="+mn-lt"/>
                <a:ea typeface="+mn-ea"/>
                <a:cs typeface="+mn-cs"/>
              </a:rPr>
              <a:t>Indicates that the Database Engine does not cache a query plan for this procedure, forcing it to be compiled (all statements) each time it is executed. </a:t>
            </a:r>
          </a:p>
          <a:p>
            <a:r>
              <a:rPr lang="en-US" sz="882" b="0" i="0" kern="1200" baseline="0" dirty="0">
                <a:solidFill>
                  <a:schemeClr val="tx1"/>
                </a:solidFill>
                <a:effectLst/>
                <a:latin typeface="+mn-lt"/>
                <a:ea typeface="+mn-ea"/>
                <a:cs typeface="+mn-cs"/>
              </a:rPr>
              <a:t>Use of the statement-level OPTION (RECOMPILE) hint is preferred.</a:t>
            </a:r>
            <a:endParaRPr lang="en-US" dirty="0"/>
          </a:p>
          <a:p>
            <a:endParaRPr lang="en-US" dirty="0"/>
          </a:p>
          <a:p>
            <a:r>
              <a:rPr lang="en-US" dirty="0"/>
              <a:t>sp_recompile</a:t>
            </a:r>
          </a:p>
          <a:p>
            <a:r>
              <a:rPr lang="en-US" dirty="0">
                <a:hlinkClick r:id="rId5"/>
              </a:rPr>
              <a:t>https://docs.microsoft.com/en-us/sql/relational-databases/system-stored-procedures/sp-recompile-transact-sql?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20122180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parameterized batch or stored procedure is compiled for the first time, the values of the parameters supplied with the execution call are used to optimize the statements. This process is known as parameter sniffing. If these values are typical, then most calls to that stored procedure will benefit from an efficient query plan.</a:t>
            </a:r>
          </a:p>
          <a:p>
            <a:endParaRPr lang="en-US" dirty="0"/>
          </a:p>
          <a:p>
            <a:pPr marL="173028" lvl="1" indent="0">
              <a:buNone/>
            </a:pPr>
            <a:r>
              <a:rPr lang="en-US" dirty="0">
                <a:latin typeface="Consolas" panose="020B0609020204030204" pitchFamily="49" charset="0"/>
                <a:cs typeface="Consolas" panose="020B0609020204030204" pitchFamily="49" charset="0"/>
              </a:rPr>
              <a:t>CREATE PROCEDURE testProc @p1 int = null</a:t>
            </a:r>
          </a:p>
          <a:p>
            <a:pPr marL="173028" lvl="1" indent="0">
              <a:buNone/>
            </a:pPr>
            <a:r>
              <a:rPr lang="en-US" dirty="0">
                <a:latin typeface="Consolas" panose="020B0609020204030204" pitchFamily="49" charset="0"/>
                <a:cs typeface="Consolas" panose="020B0609020204030204" pitchFamily="49" charset="0"/>
              </a:rPr>
              <a:t>AS</a:t>
            </a:r>
          </a:p>
          <a:p>
            <a:pPr marL="173028" lvl="1" indent="0">
              <a:buNone/>
            </a:pPr>
            <a:r>
              <a:rPr lang="en-US" dirty="0">
                <a:latin typeface="Consolas" panose="020B0609020204030204" pitchFamily="49" charset="0"/>
                <a:cs typeface="Consolas" panose="020B0609020204030204" pitchFamily="49" charset="0"/>
              </a:rPr>
              <a:t>BEGIN</a:t>
            </a:r>
          </a:p>
          <a:p>
            <a:pPr marL="173028" lvl="1" indent="0">
              <a:buNone/>
            </a:pPr>
            <a:r>
              <a:rPr lang="en-US" dirty="0">
                <a:latin typeface="Consolas" panose="020B0609020204030204" pitchFamily="49" charset="0"/>
                <a:cs typeface="Consolas" panose="020B0609020204030204" pitchFamily="49" charset="0"/>
              </a:rPr>
              <a:t>  If @p1 IS NULL</a:t>
            </a:r>
          </a:p>
          <a:p>
            <a:pPr marL="173028" lvl="1" indent="0">
              <a:buNone/>
            </a:pPr>
            <a:r>
              <a:rPr lang="en-US" dirty="0">
                <a:latin typeface="Consolas" panose="020B0609020204030204" pitchFamily="49" charset="0"/>
                <a:cs typeface="Consolas" panose="020B0609020204030204" pitchFamily="49" charset="0"/>
              </a:rPr>
              <a:t>    Begin</a:t>
            </a:r>
          </a:p>
          <a:p>
            <a:pPr marL="173028" lvl="1" indent="0">
              <a:buNone/>
            </a:pPr>
            <a:r>
              <a:rPr lang="en-US" dirty="0">
                <a:latin typeface="Consolas" panose="020B0609020204030204" pitchFamily="49" charset="0"/>
                <a:cs typeface="Consolas" panose="020B0609020204030204" pitchFamily="49" charset="0"/>
              </a:rPr>
              <a:t>      Select @p1 = 9999</a:t>
            </a:r>
          </a:p>
          <a:p>
            <a:pPr marL="173028" lvl="1" indent="0">
              <a:buNone/>
            </a:pPr>
            <a:r>
              <a:rPr lang="en-US" dirty="0">
                <a:latin typeface="Consolas" panose="020B0609020204030204" pitchFamily="49" charset="0"/>
                <a:cs typeface="Consolas" panose="020B0609020204030204" pitchFamily="49" charset="0"/>
              </a:rPr>
              <a:t>    End</a:t>
            </a:r>
          </a:p>
          <a:p>
            <a:pPr marL="173028" lvl="1" indent="0">
              <a:buNone/>
            </a:pPr>
            <a:r>
              <a:rPr lang="en-US" dirty="0">
                <a:latin typeface="Consolas" panose="020B0609020204030204" pitchFamily="49" charset="0"/>
                <a:cs typeface="Consolas" panose="020B0609020204030204" pitchFamily="49" charset="0"/>
              </a:rPr>
              <a:t>  SELECT * </a:t>
            </a:r>
          </a:p>
          <a:p>
            <a:pPr marL="173028" lvl="1" indent="0">
              <a:buNone/>
            </a:pPr>
            <a:r>
              <a:rPr lang="en-US" dirty="0">
                <a:latin typeface="Consolas" panose="020B0609020204030204" pitchFamily="49" charset="0"/>
                <a:cs typeface="Consolas" panose="020B0609020204030204" pitchFamily="49" charset="0"/>
              </a:rPr>
              <a:t>  FROM sales.target</a:t>
            </a:r>
          </a:p>
          <a:p>
            <a:pPr marL="173028" lvl="1" indent="0">
              <a:buNone/>
            </a:pPr>
            <a:r>
              <a:rPr lang="en-US" dirty="0">
                <a:latin typeface="Consolas" panose="020B0609020204030204" pitchFamily="49" charset="0"/>
                <a:cs typeface="Consolas" panose="020B0609020204030204" pitchFamily="49" charset="0"/>
              </a:rPr>
              <a:t>  WHERE amount = @p1</a:t>
            </a:r>
          </a:p>
          <a:p>
            <a:pPr marL="173028" lvl="1" indent="0">
              <a:buNone/>
            </a:pPr>
            <a:r>
              <a:rPr lang="en-US" dirty="0">
                <a:latin typeface="Consolas" panose="020B0609020204030204" pitchFamily="49" charset="0"/>
                <a:cs typeface="Consolas" panose="020B0609020204030204" pitchFamily="49" charset="0"/>
              </a:rPr>
              <a:t>END</a:t>
            </a:r>
          </a:p>
          <a:p>
            <a:endParaRPr lang="en-US" dirty="0"/>
          </a:p>
          <a:p>
            <a:pPr lvl="0"/>
            <a:r>
              <a:rPr lang="en-US" dirty="0"/>
              <a:t>Issues generally arise in two scenarios:</a:t>
            </a:r>
          </a:p>
          <a:p>
            <a:pPr lvl="1"/>
            <a:r>
              <a:rPr lang="en-US" dirty="0"/>
              <a:t>The sniffed parameter value is not typical of the values that are actually used during a typical execution.</a:t>
            </a:r>
          </a:p>
          <a:p>
            <a:pPr lvl="1"/>
            <a:r>
              <a:rPr lang="en-US" dirty="0"/>
              <a:t>The parameter is changed within a stored procedure before it is used in a query-parameterized queries will behave in a similar manner to batches that have been explicitly parameterized. That is, if the first execution of a query uses an atypical value when it is compiled, similar queries that share the execution plan through simple or forced parameterization may have inaccurate cardinality estimates.</a:t>
            </a:r>
          </a:p>
          <a:p>
            <a:endParaRPr lang="en-US" dirty="0"/>
          </a:p>
        </p:txBody>
      </p:sp>
      <p:sp>
        <p:nvSpPr>
          <p:cNvPr id="4" name="Rectangular Callout 3"/>
          <p:cNvSpPr/>
          <p:nvPr/>
        </p:nvSpPr>
        <p:spPr>
          <a:xfrm>
            <a:off x="-3505200" y="5029200"/>
            <a:ext cx="3276600" cy="16764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Repeat of previous page</a:t>
            </a:r>
            <a:endParaRPr lang="en-US" dirty="0"/>
          </a:p>
        </p:txBody>
      </p:sp>
    </p:spTree>
    <p:extLst>
      <p:ext uri="{BB962C8B-B14F-4D97-AF65-F5344CB8AC3E}">
        <p14:creationId xmlns:p14="http://schemas.microsoft.com/office/powerpoint/2010/main" val="1056779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9</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023</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defTabSz="914460">
              <a:defRPr/>
            </a:pPr>
            <a:r>
              <a:rPr lang="en-US" sz="1800" dirty="0">
                <a:solidFill>
                  <a:srgbClr val="000000"/>
                </a:solidFill>
                <a:latin typeface="Consolas" panose="020B0609020204030204" pitchFamily="49" charset="0"/>
              </a:rPr>
              <a:t>M08L01Demo01</a:t>
            </a:r>
            <a:r>
              <a:rPr lang="en-US" sz="850" noProof="1">
                <a:cs typeface="Segoe UI"/>
              </a:rPr>
              <a:t> </a:t>
            </a:r>
          </a:p>
          <a:p>
            <a:pPr defTabSz="914460">
              <a:defRPr/>
            </a:pPr>
            <a:endParaRPr lang="en-US" sz="850" noProof="1">
              <a:cs typeface="Segoe UI"/>
            </a:endParaRPr>
          </a:p>
          <a:p>
            <a:pPr defTabSz="914460">
              <a:defRPr/>
            </a:pPr>
            <a:r>
              <a:rPr lang="en-US" sz="850" noProof="1">
                <a:cs typeface="Segoe UI"/>
              </a:rPr>
              <a:t>Walk through the following demos:</a:t>
            </a:r>
          </a:p>
          <a:p>
            <a:pPr defTabSz="914460">
              <a:defRPr/>
            </a:pPr>
            <a:endParaRPr lang="en-US" sz="850" noProof="1">
              <a:cs typeface="Segoe UI"/>
            </a:endParaRPr>
          </a:p>
          <a:p>
            <a:pPr defTabSz="914460">
              <a:defRPr/>
            </a:pPr>
            <a:r>
              <a:rPr lang="en-US" sz="800" i="1" noProof="0" dirty="0">
                <a:solidFill>
                  <a:prstClr val="black"/>
                </a:solidFill>
                <a:latin typeface="Segoe UI Light" pitchFamily="34" charset="0"/>
              </a:rPr>
              <a:t>E:\Demos\</a:t>
            </a:r>
            <a:r>
              <a:rPr lang="en-US" sz="800" i="1" dirty="0">
                <a:solidFill>
                  <a:srgbClr val="000000"/>
                </a:solidFill>
                <a:latin typeface="Consolas" panose="020B0609020204030204" pitchFamily="49" charset="0"/>
              </a:rPr>
              <a:t>M08L01Demo01</a:t>
            </a:r>
            <a:r>
              <a:rPr lang="en-US" sz="800" i="1" noProof="0" dirty="0">
                <a:solidFill>
                  <a:prstClr val="black"/>
                </a:solidFill>
                <a:latin typeface="Segoe UI Light" pitchFamily="34" charset="0"/>
              </a:rPr>
              <a:t>\</a:t>
            </a:r>
            <a:r>
              <a:rPr lang="en-US" sz="850" i="1" noProof="1">
                <a:cs typeface="Segoe UI"/>
              </a:rPr>
              <a:t>Demo1_adhoc_vs_proc_plans.sql</a:t>
            </a:r>
            <a:endParaRPr lang="en-US" sz="850" i="1" dirty="0">
              <a:cs typeface="Segoe UI"/>
            </a:endParaRPr>
          </a:p>
          <a:p>
            <a:pPr defTabSz="914460">
              <a:defRPr/>
            </a:pPr>
            <a:endParaRPr lang="en-US" sz="850" noProof="1">
              <a:cs typeface="Segoe UI"/>
            </a:endParaRPr>
          </a:p>
          <a:p>
            <a:pPr defTabSz="914460">
              <a:defRPr/>
            </a:pPr>
            <a:r>
              <a:rPr lang="en-US" sz="900" i="1" noProof="0" dirty="0">
                <a:solidFill>
                  <a:prstClr val="black"/>
                </a:solidFill>
                <a:latin typeface="Segoe UI Light" pitchFamily="34" charset="0"/>
              </a:rPr>
              <a:t>E:\Demos\</a:t>
            </a:r>
            <a:r>
              <a:rPr lang="en-US" sz="900" i="1" dirty="0">
                <a:solidFill>
                  <a:srgbClr val="000000"/>
                </a:solidFill>
                <a:latin typeface="Consolas" panose="020B0609020204030204" pitchFamily="49" charset="0"/>
              </a:rPr>
              <a:t>M08L01Demo01</a:t>
            </a:r>
            <a:r>
              <a:rPr lang="en-US" sz="900" i="1" noProof="0" dirty="0">
                <a:solidFill>
                  <a:prstClr val="black"/>
                </a:solidFill>
                <a:latin typeface="Segoe UI Light" pitchFamily="34" charset="0"/>
              </a:rPr>
              <a:t>\</a:t>
            </a:r>
            <a:r>
              <a:rPr lang="en-US" sz="850" i="1" noProof="1">
                <a:cs typeface="Segoe UI"/>
              </a:rPr>
              <a:t>Demo2_parameter_sniffing.sql</a:t>
            </a:r>
            <a:endParaRPr lang="en-US" sz="850" i="1" dirty="0">
              <a:cs typeface="Segoe UI"/>
            </a:endParaRPr>
          </a:p>
          <a:p>
            <a:pPr defTabSz="914460">
              <a:spcAft>
                <a:spcPts val="333"/>
              </a:spcAft>
              <a:defRPr/>
            </a:pPr>
            <a:endParaRPr lang="en-US" sz="850" noProof="1"/>
          </a:p>
          <a:p>
            <a:pPr defTabSz="914460">
              <a:spcAft>
                <a:spcPts val="333"/>
              </a:spcAft>
              <a:defRPr/>
            </a:pPr>
            <a:r>
              <a:rPr lang="en-US" sz="900" i="1" noProof="0" dirty="0">
                <a:solidFill>
                  <a:prstClr val="black"/>
                </a:solidFill>
                <a:latin typeface="Segoe UI Light" pitchFamily="34" charset="0"/>
              </a:rPr>
              <a:t>E:\Demos\</a:t>
            </a:r>
            <a:r>
              <a:rPr lang="en-US" sz="900" i="1" dirty="0">
                <a:solidFill>
                  <a:srgbClr val="000000"/>
                </a:solidFill>
                <a:latin typeface="Consolas" panose="020B0609020204030204" pitchFamily="49" charset="0"/>
              </a:rPr>
              <a:t>M08L01Demo01</a:t>
            </a:r>
            <a:r>
              <a:rPr lang="en-US" sz="900" i="1" noProof="0" dirty="0">
                <a:solidFill>
                  <a:prstClr val="black"/>
                </a:solidFill>
                <a:latin typeface="Segoe UI Light" pitchFamily="34" charset="0"/>
              </a:rPr>
              <a:t>\</a:t>
            </a:r>
            <a:r>
              <a:rPr lang="en-US" sz="850" i="1" noProof="1"/>
              <a:t>Demo3_querying_the_plan_cache_DMOs.sql</a:t>
            </a:r>
            <a:endParaRPr lang="en-US" sz="850" i="1" dirty="0">
              <a:cs typeface="Segoe UI"/>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0</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2023</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1) Is the size of the plan cache fixed?</a:t>
            </a:r>
          </a:p>
          <a:p>
            <a:r>
              <a:rPr lang="en-US" dirty="0"/>
              <a:t>A1) No.  It grows on demand, within limits, and can shrink when there’s memory pressure.</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2) How long do query plans remain in the plan cache?</a:t>
            </a:r>
          </a:p>
          <a:p>
            <a:r>
              <a:rPr lang="en-US" dirty="0"/>
              <a:t>A2) Until memory pressure forces them out.</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3) Why is plan caching helpful?</a:t>
            </a:r>
          </a:p>
          <a:p>
            <a:r>
              <a:rPr lang="en-US" dirty="0"/>
              <a:t>A3) Plan reuse saves time and CPU since a new plan needn’t be compiled every time a statement is executed.</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4) Why are ad hoc query plans sometimes problematic?</a:t>
            </a:r>
          </a:p>
          <a:p>
            <a:r>
              <a:rPr lang="en-US" dirty="0"/>
              <a:t>A4) They are often single-use both because of their nature (users browsing data) and because small changes in SQL text impact the ability of the Optimizer to match current queries to cached plans. This can lead to filling up the plan cache with plans that will never be reused – a waste of space that may negatively impact the size of the buffer pool.</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5) What can be done to lessen the impact of an ad hoc workload?</a:t>
            </a:r>
          </a:p>
          <a:p>
            <a:r>
              <a:rPr lang="en-US" dirty="0"/>
              <a:t>A5) Address this by enabling the “optimize for ad hoc workload” server configuration item. This prevents full caching of plans until they’ve been used a second time.</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6) What can be done to address a parameter sniffing issue?</a:t>
            </a:r>
          </a:p>
          <a:p>
            <a:r>
              <a:rPr lang="en-US" dirty="0"/>
              <a:t>A6) You can use statement-level recompile hints to ensure you have cost-effective plans for all executions of a statement.  Recompile hints simply prevent caching of the query plans for statements in their scope (object or statement).</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dirty="0"/>
          </a:p>
        </p:txBody>
      </p:sp>
    </p:spTree>
    <p:extLst>
      <p:ext uri="{BB962C8B-B14F-4D97-AF65-F5344CB8AC3E}">
        <p14:creationId xmlns:p14="http://schemas.microsoft.com/office/powerpoint/2010/main" val="26843113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343400"/>
            <a:ext cx="5943600" cy="4114800"/>
          </a:xfrm>
        </p:spPr>
        <p:txBody>
          <a:bodyPr/>
          <a:lstStyle/>
          <a:p>
            <a:endParaRPr lang="en-US" dirty="0"/>
          </a:p>
        </p:txBody>
      </p:sp>
      <p:sp>
        <p:nvSpPr>
          <p:cNvPr id="4" name="Rectangular Callout 3"/>
          <p:cNvSpPr/>
          <p:nvPr/>
        </p:nvSpPr>
        <p:spPr>
          <a:xfrm>
            <a:off x="5943600" y="4495800"/>
            <a:ext cx="3276600" cy="12192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Calibri" panose="020F0502020204030204"/>
                <a:ea typeface="+mn-ea"/>
                <a:cs typeface="+mn-cs"/>
              </a:rPr>
              <a:t>Please consider editing or deleting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ive me the top queries that have changed in performance compared to the number of executions. “</a:t>
            </a:r>
          </a:p>
        </p:txBody>
      </p:sp>
    </p:spTree>
    <p:extLst>
      <p:ext uri="{BB962C8B-B14F-4D97-AF65-F5344CB8AC3E}">
        <p14:creationId xmlns:p14="http://schemas.microsoft.com/office/powerpoint/2010/main" val="27133514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4417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1/2023</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r>
              <a:rPr lang="en-US" dirty="0"/>
              <a:t>Block of SQL Server’s working set memory dynamically shared with the buffer pool.</a:t>
            </a:r>
          </a:p>
          <a:p>
            <a:r>
              <a:rPr lang="en-US" dirty="0"/>
              <a:t>Contains compiled and optimized query plans for reuse.</a:t>
            </a:r>
          </a:p>
          <a:p>
            <a:endParaRPr lang="en-US" dirty="0"/>
          </a:p>
          <a:p>
            <a:r>
              <a:rPr lang="en-US" dirty="0"/>
              <a:t>This is generally beneficial as creating query plans is costly both in time and CPU.</a:t>
            </a:r>
          </a:p>
          <a:p>
            <a:r>
              <a:rPr lang="en-US" dirty="0"/>
              <a:t>But, plan reuse isn’t always appropriate as when differing parameters yield results sets of widely varying sizes.  Like, Nested Loop Joins are a cost-effective way to join smaller result sets, but are prohibitively expensive for very large result sets.</a:t>
            </a:r>
          </a:p>
          <a:p>
            <a:endParaRPr lang="en-US" dirty="0"/>
          </a:p>
          <a:p>
            <a:r>
              <a:rPr lang="en-US" i="1" dirty="0"/>
              <a:t>Ad hoc </a:t>
            </a:r>
            <a:r>
              <a:rPr lang="en-US" dirty="0"/>
              <a:t>SQL statements are less likely to be reused as the text of subsequent SQL statements much match </a:t>
            </a:r>
            <a:r>
              <a:rPr lang="en-US" u="sng" dirty="0"/>
              <a:t>exactly</a:t>
            </a:r>
            <a:r>
              <a:rPr lang="en-US" dirty="0"/>
              <a:t> to achieve reuse. This can bloat the plan cache with single-use plans. Address this by enabling the </a:t>
            </a:r>
            <a:r>
              <a:rPr lang="en-US" b="1" dirty="0"/>
              <a:t>Optimize for ad hoc workloads </a:t>
            </a:r>
            <a:r>
              <a:rPr lang="en-US" dirty="0"/>
              <a:t>server configuration option. Also use parameterized SQL and stored procedures in preference to </a:t>
            </a:r>
            <a:r>
              <a:rPr lang="en-US" i="1" dirty="0"/>
              <a:t>ad hoc </a:t>
            </a:r>
            <a:r>
              <a:rPr lang="en-US" dirty="0"/>
              <a:t>SQL.</a:t>
            </a:r>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79553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71584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1801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1798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156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6561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00859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66586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9156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6270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900" kern="1200" baseline="0" dirty="0">
                <a:solidFill>
                  <a:schemeClr val="tx1"/>
                </a:solidFill>
                <a:effectLst/>
                <a:latin typeface="+mn-lt"/>
                <a:ea typeface="+mn-ea"/>
                <a:cs typeface="+mn-cs"/>
              </a:rPr>
              <a:t>Maximum number of entries the plan cache can hold:</a:t>
            </a:r>
          </a:p>
          <a:p>
            <a:pPr lvl="1" rtl="0" fontAlgn="ctr"/>
            <a:r>
              <a:rPr lang="en-US" sz="900" kern="1200" baseline="0" dirty="0">
                <a:solidFill>
                  <a:schemeClr val="tx1"/>
                </a:solidFill>
                <a:effectLst/>
                <a:latin typeface="+mn-lt"/>
                <a:ea typeface="+mn-ea"/>
                <a:cs typeface="+mn-cs"/>
              </a:rPr>
              <a:t>160,036 total entries</a:t>
            </a:r>
          </a:p>
          <a:p>
            <a:pPr lvl="1" rtl="0" fontAlgn="ctr"/>
            <a:r>
              <a:rPr lang="en-US" sz="900" kern="1200" baseline="0" dirty="0">
                <a:solidFill>
                  <a:schemeClr val="tx1"/>
                </a:solidFill>
                <a:effectLst/>
                <a:latin typeface="+mn-lt"/>
                <a:ea typeface="+mn-ea"/>
                <a:cs typeface="+mn-cs"/>
              </a:rPr>
              <a:t>40,009 entries each for SQL Plans, Object Plans, Bound Trees, Extended SPs</a:t>
            </a:r>
          </a:p>
          <a:p>
            <a:pPr lvl="1" rtl="0" fontAlgn="ctr"/>
            <a:endParaRPr lang="en-US" sz="900" kern="1200" baseline="0" dirty="0">
              <a:solidFill>
                <a:schemeClr val="tx1"/>
              </a:solidFill>
              <a:effectLst/>
              <a:latin typeface="+mn-lt"/>
              <a:ea typeface="+mn-ea"/>
              <a:cs typeface="+mn-cs"/>
            </a:endParaRPr>
          </a:p>
          <a:p>
            <a:r>
              <a:rPr lang="en-US" sz="1000" kern="1200" baseline="0" dirty="0">
                <a:solidFill>
                  <a:schemeClr val="tx1"/>
                </a:solidFill>
                <a:effectLst/>
                <a:latin typeface="+mn-lt"/>
                <a:ea typeface="+mn-ea"/>
                <a:cs typeface="+mn-cs"/>
              </a:rPr>
              <a:t>Heavy ad hoc workloads may fill up the SQL Plans bucket and result in SOS_CACHESTORE spinlock contention.</a:t>
            </a:r>
          </a:p>
          <a:p>
            <a:r>
              <a:rPr lang="en-US" sz="1000" kern="1200" baseline="0" dirty="0">
                <a:solidFill>
                  <a:schemeClr val="tx1"/>
                </a:solidFill>
                <a:effectLst/>
                <a:latin typeface="+mn-lt"/>
                <a:ea typeface="+mn-ea"/>
                <a:cs typeface="+mn-cs"/>
              </a:rPr>
              <a:t>This can be addressed with -T174 which increases the bucket count by 4X.</a:t>
            </a:r>
          </a:p>
          <a:p>
            <a:endParaRPr lang="en-US" sz="900" dirty="0"/>
          </a:p>
          <a:p>
            <a:pPr rtl="0" fontAlgn="ctr"/>
            <a:r>
              <a:rPr lang="en-US" sz="900" kern="1200" baseline="0" dirty="0">
                <a:solidFill>
                  <a:schemeClr val="tx1"/>
                </a:solidFill>
                <a:effectLst/>
                <a:latin typeface="+mn-lt"/>
                <a:ea typeface="+mn-ea"/>
                <a:cs typeface="+mn-cs"/>
              </a:rPr>
              <a:t>Maximum size the plan cache can reach:</a:t>
            </a:r>
          </a:p>
          <a:p>
            <a:pPr lvl="1"/>
            <a:r>
              <a:rPr lang="en-US" sz="900" kern="1200" baseline="0" dirty="0">
                <a:solidFill>
                  <a:schemeClr val="tx1"/>
                </a:solidFill>
                <a:effectLst/>
                <a:latin typeface="+mn-lt"/>
                <a:ea typeface="+mn-ea"/>
                <a:cs typeface="+mn-cs"/>
              </a:rPr>
              <a:t>75% of visible target memory from 0 to 4GB </a:t>
            </a:r>
          </a:p>
          <a:p>
            <a:pPr lvl="1"/>
            <a:r>
              <a:rPr lang="en-US" sz="900" kern="1200" baseline="0" dirty="0">
                <a:solidFill>
                  <a:schemeClr val="tx1"/>
                </a:solidFill>
                <a:effectLst/>
                <a:latin typeface="+mn-lt"/>
                <a:ea typeface="+mn-ea"/>
                <a:cs typeface="+mn-cs"/>
              </a:rPr>
              <a:t>+ 10% of visible target memory from 4GB to 64GB</a:t>
            </a:r>
          </a:p>
          <a:p>
            <a:pPr lvl="1"/>
            <a:r>
              <a:rPr lang="en-US" sz="900" kern="1200" baseline="0" dirty="0">
                <a:solidFill>
                  <a:schemeClr val="tx1"/>
                </a:solidFill>
                <a:effectLst/>
                <a:latin typeface="+mn-lt"/>
                <a:ea typeface="+mn-ea"/>
                <a:cs typeface="+mn-cs"/>
              </a:rPr>
              <a:t>+ 25% of visible target memory &gt; 64GB</a:t>
            </a:r>
          </a:p>
          <a:p>
            <a:pPr lvl="1"/>
            <a:endParaRPr lang="en-US" sz="900" kern="1200" baseline="0" dirty="0">
              <a:solidFill>
                <a:schemeClr val="tx1"/>
              </a:solidFill>
              <a:effectLst/>
              <a:latin typeface="+mn-lt"/>
              <a:ea typeface="+mn-ea"/>
              <a:cs typeface="+mn-cs"/>
            </a:endParaRPr>
          </a:p>
          <a:p>
            <a:r>
              <a:rPr lang="en-US" sz="900" kern="1200" baseline="0" dirty="0">
                <a:solidFill>
                  <a:schemeClr val="tx1"/>
                </a:solidFill>
                <a:effectLst/>
                <a:latin typeface="+mn-lt"/>
                <a:ea typeface="+mn-ea"/>
                <a:cs typeface="+mn-cs"/>
              </a:rPr>
              <a:t>The “Optimize for ad hoc workload” server configuration option helps control the cache size.</a:t>
            </a:r>
          </a:p>
          <a:p>
            <a:endParaRPr lang="en-US" sz="900" kern="1200" baseline="0" dirty="0">
              <a:solidFill>
                <a:schemeClr val="tx1"/>
              </a:solidFill>
              <a:effectLst/>
              <a:latin typeface="+mn-lt"/>
              <a:ea typeface="+mn-ea"/>
              <a:cs typeface="+mn-cs"/>
            </a:endParaRPr>
          </a:p>
          <a:p>
            <a:r>
              <a:rPr lang="en-US" sz="800" dirty="0"/>
              <a:t>When object plans are cached their compilation cost is noted.  Under memory pressure that value is decremented.  On plan reuse it is reset.</a:t>
            </a:r>
          </a:p>
          <a:p>
            <a:r>
              <a:rPr lang="en-US" sz="800" dirty="0"/>
              <a:t>Ad hoc plans are cached with a cost of 0.  This value is incremented on plan reuse.</a:t>
            </a:r>
          </a:p>
          <a:p>
            <a:r>
              <a:rPr lang="en-US" sz="800" dirty="0"/>
              <a:t>Plans that have a cost of 0 may be evicted from the cache.</a:t>
            </a:r>
          </a:p>
          <a:p>
            <a:pPr rtl="0" fontAlgn="ctr"/>
            <a:endParaRPr lang="en-US" sz="80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5107516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265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76334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85804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icture provide by Tracy </a:t>
            </a:r>
            <a:r>
              <a:rPr lang="en-GB" dirty="0" err="1"/>
              <a:t>Boggiano</a:t>
            </a:r>
            <a:r>
              <a:rPr lang="en-GB" dirty="0"/>
              <a:t> from her book Query Store for SQL Server 2019.</a:t>
            </a:r>
          </a:p>
        </p:txBody>
      </p:sp>
      <p:sp>
        <p:nvSpPr>
          <p:cNvPr id="4" name="Rectangular Callout 3"/>
          <p:cNvSpPr/>
          <p:nvPr/>
        </p:nvSpPr>
        <p:spPr>
          <a:xfrm>
            <a:off x="6331057" y="3304929"/>
            <a:ext cx="2241235" cy="1318437"/>
          </a:xfrm>
          <a:prstGeom prst="wedgeRectCallout">
            <a:avLst>
              <a:gd name="adj1" fmla="val -254401"/>
              <a:gd name="adj2" fmla="val 9137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Tree>
    <p:extLst>
      <p:ext uri="{BB962C8B-B14F-4D97-AF65-F5344CB8AC3E}">
        <p14:creationId xmlns:p14="http://schemas.microsoft.com/office/powerpoint/2010/main" val="26517067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Rectangular Callout 3"/>
          <p:cNvSpPr/>
          <p:nvPr/>
        </p:nvSpPr>
        <p:spPr>
          <a:xfrm>
            <a:off x="6331057" y="3304929"/>
            <a:ext cx="2241235" cy="1318437"/>
          </a:xfrm>
          <a:prstGeom prst="wedgeRectCallout">
            <a:avLst>
              <a:gd name="adj1" fmla="val -254401"/>
              <a:gd name="adj2" fmla="val 9137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Tree>
    <p:extLst>
      <p:ext uri="{BB962C8B-B14F-4D97-AF65-F5344CB8AC3E}">
        <p14:creationId xmlns:p14="http://schemas.microsoft.com/office/powerpoint/2010/main" val="27459882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Rectangular Callout 3"/>
          <p:cNvSpPr/>
          <p:nvPr/>
        </p:nvSpPr>
        <p:spPr>
          <a:xfrm>
            <a:off x="-838200" y="3124200"/>
            <a:ext cx="2057400" cy="990600"/>
          </a:xfrm>
          <a:prstGeom prst="wedgeRectCallout">
            <a:avLst>
              <a:gd name="adj1" fmla="val 33954"/>
              <a:gd name="adj2" fmla="val 938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What version does “Before” refer to?</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2057400" y="3124200"/>
            <a:ext cx="2590800" cy="1066800"/>
          </a:xfrm>
          <a:prstGeom prst="wedgeRectCallout">
            <a:avLst>
              <a:gd name="adj1" fmla="val -33708"/>
              <a:gd name="adj2" fmla="val 862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query store compare plans was a complicated </a:t>
            </a: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 is unclear – please revisi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7883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900" dirty="0">
                <a:solidFill>
                  <a:srgbClr val="000000"/>
                </a:solidFill>
                <a:latin typeface="Consolas" panose="020B0609020204030204" pitchFamily="49" charset="0"/>
              </a:rPr>
              <a:t>M08L03Lab01</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Q1)  If upgrading from SQL Server 2012 to 2019. Which report should figure prominently in your upgrade plans?</a:t>
            </a:r>
          </a:p>
          <a:p>
            <a:pPr lvl="0"/>
            <a:r>
              <a:rPr lang="en-US" dirty="0"/>
              <a:t>A1)  The Regressed Queries report. During upgrade testing and at go live, you should:</a:t>
            </a:r>
          </a:p>
          <a:p>
            <a:pPr marL="381762" lvl="1" indent="-171450">
              <a:buFont typeface="Arial" panose="020B0604020202020204" pitchFamily="34" charset="0"/>
              <a:buChar char="•"/>
            </a:pPr>
            <a:r>
              <a:rPr lang="en-US" dirty="0"/>
              <a:t>Restore the 2012 backup leaving the Compatibility Level set to 110.</a:t>
            </a:r>
          </a:p>
          <a:p>
            <a:pPr marL="381762" lvl="1" indent="-171450">
              <a:buFont typeface="Arial" panose="020B0604020202020204" pitchFamily="34" charset="0"/>
              <a:buChar char="•"/>
            </a:pPr>
            <a:r>
              <a:rPr lang="en-US" dirty="0"/>
              <a:t>Enable Query Store.</a:t>
            </a:r>
          </a:p>
          <a:p>
            <a:pPr marL="381762" lvl="1" indent="-171450">
              <a:buFont typeface="Arial" panose="020B0604020202020204" pitchFamily="34" charset="0"/>
              <a:buChar char="•"/>
            </a:pPr>
            <a:r>
              <a:rPr lang="en-US" dirty="0"/>
              <a:t>Collect a representative sample of query execution data at the original Compatibility Level.</a:t>
            </a:r>
          </a:p>
          <a:p>
            <a:pPr marL="381762" lvl="1" indent="-171450">
              <a:buFont typeface="Arial" panose="020B0604020202020204" pitchFamily="34" charset="0"/>
              <a:buChar char="•"/>
            </a:pPr>
            <a:r>
              <a:rPr lang="en-US" dirty="0"/>
              <a:t>Change the Compatibility Level to 150.</a:t>
            </a:r>
          </a:p>
          <a:p>
            <a:pPr marL="381762" lvl="1" indent="-171450">
              <a:buFont typeface="Arial" panose="020B0604020202020204" pitchFamily="34" charset="0"/>
              <a:buChar char="•"/>
            </a:pPr>
            <a:r>
              <a:rPr lang="en-US" dirty="0"/>
              <a:t>Monitor this report for queries that are performing less well at the new Compatibility Level (query plan regressions).</a:t>
            </a:r>
          </a:p>
          <a:p>
            <a:pPr lvl="0"/>
            <a:endParaRPr lang="en-US" dirty="0"/>
          </a:p>
          <a:p>
            <a:pPr lvl="0"/>
            <a:r>
              <a:rPr lang="en-US" b="1" dirty="0"/>
              <a:t>Q2)  In the report bar chart what does each bar represent?</a:t>
            </a:r>
          </a:p>
          <a:p>
            <a:pPr lvl="0"/>
            <a:r>
              <a:rPr lang="en-US" dirty="0"/>
              <a:t>A2)  A unique combination of a SQL statement (identified by a query_text_id) and context settings (context_settings_id). Each bar will have a unique query_id value.</a:t>
            </a:r>
          </a:p>
          <a:p>
            <a:pPr lvl="0"/>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3) Which report can help troubleshoot  a parameter sniffing issue?</a:t>
            </a:r>
          </a:p>
          <a:p>
            <a:pPr lvl="0"/>
            <a:r>
              <a:rPr lang="en-US" dirty="0"/>
              <a:t>A3)  The Queries With High Variation report.  </a:t>
            </a:r>
          </a:p>
          <a:p>
            <a:pPr lvl="0"/>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4) Querying the wait statistics DMV it returns high PAGEIOLATCH waits. Which report can help identify queries with high IO wait times? </a:t>
            </a:r>
          </a:p>
          <a:p>
            <a:pPr lvl="0"/>
            <a:r>
              <a:rPr lang="en-US" dirty="0"/>
              <a:t>A4)  The Query Wait Statistics report. Waits are grouped into categories to lessen the performance impact of collecting this data, but you could drill down on BufferIO to find queries that have accumulated I/O related waits.</a:t>
            </a:r>
          </a:p>
          <a:p>
            <a:pPr lvl="0"/>
            <a:endParaRPr lang="en-US" dirty="0"/>
          </a:p>
          <a:p>
            <a:pPr lvl="0"/>
            <a:r>
              <a:rPr lang="en-US" b="1" dirty="0"/>
              <a:t>Q5)  Someone has dropped an index needed by a forced plan. What happens the next time the query executes? What happens if the index is recreated?</a:t>
            </a:r>
          </a:p>
          <a:p>
            <a:r>
              <a:rPr lang="en-US" dirty="0"/>
              <a:t>A5)  The Optimizer gracefully recovers. It will generate a new query plan. You could visualize this failure in the Queries With Force Plans report. Check marks on dots in the Plan Summary indicate use of a forced plan. The reason for a forced plan failure can be found in the UI or in sys.query_store_plans. Should the dropped index be restored use of the forced plan will resume.</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dirty="0"/>
          </a:p>
        </p:txBody>
      </p:sp>
    </p:spTree>
    <p:extLst>
      <p:ext uri="{BB962C8B-B14F-4D97-AF65-F5344CB8AC3E}">
        <p14:creationId xmlns:p14="http://schemas.microsoft.com/office/powerpoint/2010/main" val="4405942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MV – proc level sta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uery to show contents by type)</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2864467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le all this has been running, several other parts of SQLOS have been active:</a:t>
            </a:r>
          </a:p>
          <a:p>
            <a:pPr lvl="1"/>
            <a:r>
              <a:rPr lang="en-US" b="1"/>
              <a:t>Monitoring</a:t>
            </a:r>
            <a:r>
              <a:rPr lang="en-US"/>
              <a:t>: DMVs, Extended Events (xEvents), and so on.</a:t>
            </a:r>
          </a:p>
          <a:p>
            <a:pPr lvl="1"/>
            <a:r>
              <a:rPr lang="en-US" b="1"/>
              <a:t>Deadlock</a:t>
            </a:r>
            <a:r>
              <a:rPr lang="en-US"/>
              <a:t> </a:t>
            </a:r>
            <a:r>
              <a:rPr lang="en-US" b="1"/>
              <a:t>Monitor</a:t>
            </a:r>
            <a:r>
              <a:rPr lang="en-US"/>
              <a:t> thread: Monitors for and deals with deadlocks.</a:t>
            </a:r>
          </a:p>
          <a:p>
            <a:pPr lvl="1"/>
            <a:r>
              <a:rPr lang="en-US" b="1"/>
              <a:t>Lazy</a:t>
            </a:r>
            <a:r>
              <a:rPr lang="en-US"/>
              <a:t> </a:t>
            </a:r>
            <a:r>
              <a:rPr lang="en-US" b="1"/>
              <a:t>Writer</a:t>
            </a:r>
            <a:r>
              <a:rPr lang="en-US"/>
              <a:t> threads: Clock sweeping the buffer pool to maintain the free lists and responsible for writing dirty pages to disk between checkpoints.</a:t>
            </a:r>
          </a:p>
          <a:p>
            <a:pPr lvl="1"/>
            <a:r>
              <a:rPr lang="en-US" b="1"/>
              <a:t>Scheduler</a:t>
            </a:r>
            <a:r>
              <a:rPr lang="en-US"/>
              <a:t> </a:t>
            </a:r>
            <a:r>
              <a:rPr lang="en-US" b="1"/>
              <a:t>Monitor</a:t>
            </a:r>
            <a:r>
              <a:rPr lang="en-US"/>
              <a:t> thread: Monitors scheduler health and detects issues such as non-yielding scenarios.</a:t>
            </a:r>
          </a:p>
          <a:p>
            <a:pPr lvl="1"/>
            <a:r>
              <a:rPr lang="en-US" b="1"/>
              <a:t>Resource</a:t>
            </a:r>
            <a:r>
              <a:rPr lang="en-US"/>
              <a:t> </a:t>
            </a:r>
            <a:r>
              <a:rPr lang="en-US" b="1"/>
              <a:t>Monitor</a:t>
            </a:r>
            <a:r>
              <a:rPr lang="en-US"/>
              <a:t> thread: Monitors available memory from operating system and internal to SQL Server and notifies the Clerks.</a:t>
            </a:r>
          </a:p>
          <a:p>
            <a:r>
              <a:rPr lang="en-US"/>
              <a:t>The Hosting APIs for external components interface with Microsoft Data Access Components (MDAC) and common language runtime (CLR).</a:t>
            </a:r>
          </a:p>
          <a:p>
            <a:endParaRPr lang="en-GB"/>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272804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cached_plans</a:t>
            </a:r>
            <a:endParaRPr lang="en-US" dirty="0"/>
          </a:p>
          <a:p>
            <a:r>
              <a:rPr lang="en-US" dirty="0">
                <a:hlinkClick r:id="rId3"/>
              </a:rPr>
              <a:t>https://docs.microsoft.com/en-us/sql/relational-databases/system-dynamic-management-views/sys-dm-exec-cached-plans-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query_stats</a:t>
            </a:r>
            <a:endParaRPr lang="en-US" dirty="0"/>
          </a:p>
          <a:p>
            <a:r>
              <a:rPr lang="en-US" dirty="0">
                <a:hlinkClick r:id="rId4"/>
              </a:rPr>
              <a:t>https://docs.microsoft.com/en-us/sql/relational-databases/system-dynamic-management-views/sys-dm-exec-query-stats-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In addition to query-stats, consider the following sta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procedure_stats</a:t>
            </a:r>
            <a:endParaRPr lang="en-US" dirty="0"/>
          </a:p>
          <a:p>
            <a:r>
              <a:rPr lang="en-US" dirty="0">
                <a:hlinkClick r:id="rId5"/>
              </a:rPr>
              <a:t>https://docs.microsoft.com/en-us/sql/relational-databases/system-dynamic-management-views/sys-dm-exec-procedure-stats-transact-sql?view=sql-server-ver15</a:t>
            </a:r>
            <a:endParaRPr lang="en-US" dirty="0"/>
          </a:p>
          <a:p>
            <a:r>
              <a:rPr lang="en-US" dirty="0"/>
              <a:t>sys.dm_exec_trigger_stats</a:t>
            </a:r>
          </a:p>
          <a:p>
            <a:r>
              <a:rPr lang="en-US" dirty="0"/>
              <a:t>https://docs.microsoft.com/en-us/sql/relational-databases/system-dynamic-management-views/sys-dm-exec-trigger-stats-transact-sql?view=sql-server-ver15  </a:t>
            </a:r>
          </a:p>
          <a:p>
            <a:r>
              <a:rPr lang="en-US" dirty="0"/>
              <a:t>sys.dm_exec_function_stats</a:t>
            </a:r>
          </a:p>
          <a:p>
            <a:r>
              <a:rPr lang="en-US" dirty="0"/>
              <a:t>https://docs.microsoft.com/en-us/sql/relational-databases/system-dynamic-management-views/sys-dm-exec-function-stats-transact-sql?view=sql-server-ver15</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query_plan()</a:t>
            </a:r>
            <a:endParaRPr lang="en-US" dirty="0"/>
          </a:p>
          <a:p>
            <a:r>
              <a:rPr lang="en-US" dirty="0">
                <a:hlinkClick r:id="rId6"/>
              </a:rPr>
              <a:t>https://docs.microsoft.com/en-us/sql/relational-databases/system-dynamic-management-views/sys-dm-exec-query-plan-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sql_text()</a:t>
            </a:r>
            <a:endParaRPr lang="en-US" dirty="0"/>
          </a:p>
          <a:p>
            <a:r>
              <a:rPr lang="en-US" dirty="0">
                <a:hlinkClick r:id="rId7"/>
              </a:rPr>
              <a:t>https://docs.microsoft.com/en-us/sql/relational-databases/system-dynamic-management-views/sys-dm-exec-sql-text-transact-sql?view=sql-server-ver15</a:t>
            </a:r>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2283391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complete list see the sys.dm_exec_query_stats documentation:</a:t>
            </a:r>
          </a:p>
          <a:p>
            <a:r>
              <a:rPr lang="en-US" dirty="0">
                <a:hlinkClick r:id="rId3"/>
              </a:rPr>
              <a:t>https://docs.microsoft.com/en-us/sql/relational-databases/system-dynamic-management-views/sys-dm-exec-query-stats-transact-sql?view=sql-server-ver15</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4188044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solidFill>
                  <a:srgbClr val="00FF00"/>
                </a:solidFill>
                <a:latin typeface="Consolas" panose="020B0609020204030204" pitchFamily="49" charset="0"/>
              </a:rPr>
              <a:t>sys</a:t>
            </a:r>
            <a:r>
              <a:rPr lang="en-US" sz="900" dirty="0">
                <a:solidFill>
                  <a:srgbClr val="808080"/>
                </a:solidFill>
                <a:latin typeface="Consolas" panose="020B0609020204030204" pitchFamily="49" charset="0"/>
              </a:rPr>
              <a:t>.</a:t>
            </a:r>
            <a:r>
              <a:rPr lang="en-US" sz="900" dirty="0">
                <a:solidFill>
                  <a:srgbClr val="00FF00"/>
                </a:solidFill>
                <a:latin typeface="Consolas" panose="020B0609020204030204" pitchFamily="49" charset="0"/>
              </a:rPr>
              <a:t>dm_exec_sql_text() returns all the SQL statements in a batch.</a:t>
            </a:r>
          </a:p>
          <a:p>
            <a:endParaRPr lang="en-US" sz="900" dirty="0">
              <a:solidFill>
                <a:srgbClr val="00FF00"/>
              </a:solidFill>
              <a:latin typeface="Consolas" panose="020B0609020204030204" pitchFamily="49" charset="0"/>
            </a:endParaRPr>
          </a:p>
          <a:p>
            <a:r>
              <a:rPr lang="en-US" sz="900" dirty="0">
                <a:solidFill>
                  <a:srgbClr val="00FF00"/>
                </a:solidFill>
                <a:latin typeface="Consolas" panose="020B0609020204030204" pitchFamily="49" charset="0"/>
              </a:rPr>
              <a:t>The offset values from sys.dm_exec_query_stats are used to pick out the specific statement to which the plan and query stats apply.</a:t>
            </a:r>
          </a:p>
          <a:p>
            <a:endParaRPr lang="en-US" sz="900" dirty="0">
              <a:solidFill>
                <a:srgbClr val="00FF00"/>
              </a:solidFill>
              <a:latin typeface="Consolas" panose="020B0609020204030204" pitchFamily="49" charset="0"/>
            </a:endParaRPr>
          </a:p>
          <a:p>
            <a:r>
              <a:rPr lang="en-US" sz="900" dirty="0">
                <a:solidFill>
                  <a:srgbClr val="00FF00"/>
                </a:solidFill>
                <a:latin typeface="Consolas" panose="020B0609020204030204" pitchFamily="49" charset="0"/>
              </a:rPr>
              <a:t>Vary the ORDER BY statement in the displayed query to identify the TOP 10 queries by other measures:</a:t>
            </a:r>
          </a:p>
          <a:p>
            <a:pPr marL="171450" indent="-171450">
              <a:buFont typeface="Arial" panose="020B0604020202020204" pitchFamily="34" charset="0"/>
              <a:buChar cha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000000"/>
                </a:solidFill>
                <a:latin typeface="Consolas" panose="020B0609020204030204" pitchFamily="49" charset="0"/>
              </a:rPr>
              <a:t>execution_coun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total_logical_reads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total_worker_time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total_elapsed_time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i="1" dirty="0">
                <a:solidFill>
                  <a:srgbClr val="000000"/>
                </a:solidFill>
                <a:latin typeface="Consolas" panose="020B0609020204030204" pitchFamily="49" charset="0"/>
              </a:rPr>
              <a:t>Etc.</a:t>
            </a:r>
            <a:endParaRPr lang="en-US" sz="900" i="1" dirty="0">
              <a:solidFill>
                <a:srgbClr val="00FF00"/>
              </a:solidFill>
              <a:latin typeface="Consolas" panose="020B0609020204030204" pitchFamily="49" charset="0"/>
            </a:endParaRPr>
          </a:p>
          <a:p>
            <a:endParaRPr lang="en-US" sz="900" dirty="0">
              <a:solidFill>
                <a:srgbClr val="00FF00"/>
              </a:solidFill>
              <a:latin typeface="Consolas" panose="020B0609020204030204" pitchFamily="49"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57812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mize for ad hoc workloads Server Configuration Option</a:t>
            </a:r>
          </a:p>
          <a:p>
            <a:r>
              <a:rPr lang="en-US" dirty="0">
                <a:hlinkClick r:id="rId3"/>
              </a:rPr>
              <a:t>https://docs.microsoft.com/en-us/sql/database-engine/configure-windows/optimize-for-ad-hoc-workloads-server-configuration-option?view=sql-server-ver15</a:t>
            </a:r>
            <a:endParaRPr lang="en-US" dirty="0"/>
          </a:p>
          <a:p>
            <a:r>
              <a:rPr lang="en-US" sz="882" b="0" i="0" kern="1200" baseline="0" dirty="0">
                <a:solidFill>
                  <a:schemeClr val="tx1"/>
                </a:solidFill>
                <a:effectLst/>
                <a:latin typeface="+mn-lt"/>
                <a:ea typeface="+mn-ea"/>
                <a:cs typeface="+mn-cs"/>
              </a:rPr>
              <a:t>The </a:t>
            </a:r>
            <a:r>
              <a:rPr lang="en-US" sz="882" b="1" i="0" kern="1200" baseline="0" dirty="0">
                <a:solidFill>
                  <a:schemeClr val="tx1"/>
                </a:solidFill>
                <a:effectLst/>
                <a:latin typeface="+mn-lt"/>
                <a:ea typeface="+mn-ea"/>
                <a:cs typeface="+mn-cs"/>
              </a:rPr>
              <a:t>optimize for ad hoc workloads</a:t>
            </a:r>
            <a:r>
              <a:rPr lang="en-US" sz="882" b="0" i="0" kern="1200" baseline="0" dirty="0">
                <a:solidFill>
                  <a:schemeClr val="tx1"/>
                </a:solidFill>
                <a:effectLst/>
                <a:latin typeface="+mn-lt"/>
                <a:ea typeface="+mn-ea"/>
                <a:cs typeface="+mn-cs"/>
              </a:rPr>
              <a:t> option is used to improve the efficiency of the plan cache for workloads that contain many single use ad hoc batches. When this option is set to 1, the Database Engine stores a small compiled plan stub in the plan cache when a batch is compiled for the first time, instead of the full compiled plan. This helps to relieve memory pressure by not allowing the plan cache to become filled with compiled plans that are not reused.</a:t>
            </a:r>
          </a:p>
          <a:p>
            <a:r>
              <a:rPr lang="en-US" sz="882" b="0" i="0" kern="1200" baseline="0" dirty="0">
                <a:solidFill>
                  <a:schemeClr val="tx1"/>
                </a:solidFill>
                <a:effectLst/>
                <a:latin typeface="+mn-lt"/>
                <a:ea typeface="+mn-ea"/>
                <a:cs typeface="+mn-cs"/>
              </a:rPr>
              <a:t>The compiled plan stub allows the Database Engine to recognize that this ad hoc batch has been compiled before but has only stored a compiled plan stub, so when this batch is invoked (compiled or executed) again, the Database Engine compiles the batch, removes the compiled plan stub from the plan cache, and adds the full compiled plan to the plan cache.</a:t>
            </a:r>
          </a:p>
          <a:p>
            <a:br>
              <a:rPr lang="en-US" dirty="0"/>
            </a:br>
            <a:r>
              <a:rPr lang="en-US" sz="882" b="0" i="0" kern="1200" baseline="0" dirty="0">
                <a:solidFill>
                  <a:schemeClr val="tx1"/>
                </a:solidFill>
                <a:effectLst/>
                <a:latin typeface="+mn-lt"/>
                <a:ea typeface="+mn-ea"/>
                <a:cs typeface="+mn-cs"/>
              </a:rPr>
              <a:t>Avoid having a large number of single-use plans in the plan cache. A common cause of this problem is when the </a:t>
            </a:r>
            <a:r>
              <a:rPr lang="en-US" sz="882" b="1" i="0" kern="1200" baseline="0" dirty="0">
                <a:solidFill>
                  <a:schemeClr val="tx1"/>
                </a:solidFill>
                <a:effectLst/>
                <a:latin typeface="+mn-lt"/>
                <a:ea typeface="+mn-ea"/>
                <a:cs typeface="+mn-cs"/>
              </a:rPr>
              <a:t>data types of query parameters</a:t>
            </a:r>
            <a:r>
              <a:rPr lang="en-US" sz="882" b="0" i="0" kern="1200" baseline="0" dirty="0">
                <a:solidFill>
                  <a:schemeClr val="tx1"/>
                </a:solidFill>
                <a:effectLst/>
                <a:latin typeface="+mn-lt"/>
                <a:ea typeface="+mn-ea"/>
                <a:cs typeface="+mn-cs"/>
              </a:rPr>
              <a:t> is not consistently defined. This particularly applies to the length of strings but can apply to any data type that has a maxlength, a precision, or a scale. For example, if a parameter named @Greeting is passed as an nvarchar(10) on one call and an nvarchar(20) on the next call, separate plans are created for each parameter size. If a query has several parameters and they are not consistently defined when called, a large number of query plans could exist for each query. Plans could exist for each combination of query parameter data types and lengths that have been used.</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985155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399967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07444869"/>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28914664"/>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81444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0119950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4161480"/>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2643745"/>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674434046"/>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852992040"/>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95666560"/>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0338441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270816338"/>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5592023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3268279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75964453"/>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23748404"/>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4463220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94629630"/>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39805886"/>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46552889"/>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17712819"/>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836937"/>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6202538"/>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27644519"/>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E3CBF94E-6E36-AD88-5C22-DAE20ECFD6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37287007"/>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11374748"/>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54010036"/>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16639069"/>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6577404"/>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1929852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35877065"/>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61863A04-4C5E-EA27-73AB-F78D958DE11C}"/>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84935288"/>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477A8179-A649-9248-D3EA-C41039FBD496}"/>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2983640"/>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1692536"/>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2584316"/>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E90CB6F6-65C5-D19C-F305-69F2EDEEA6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76111114"/>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4520153"/>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689298"/>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DC2A1DFC-34AA-AB30-90B8-0F31D640B806}"/>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866299061"/>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ACCD2C7F-CA2A-C008-7993-9044154B15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5448852"/>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4195029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0856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62409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p>
            <a:fld id="{4509A250-FF31-4206-8172-F9D3106AACB1}" type="datetimeFigureOut">
              <a:rPr lang="en-US" dirty="0"/>
              <a:t>1/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34615584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93196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A39B7838-7F91-41AE-9497-E2EC8EAF0EA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5030035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07462CF8-828D-1AEB-B3C0-6D3C2F2C23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21453963"/>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5">
            <a:extLst>
              <a:ext uri="{FF2B5EF4-FFF2-40B4-BE49-F238E27FC236}">
                <a16:creationId xmlns:a16="http://schemas.microsoft.com/office/drawing/2014/main" id="{B29AF873-228B-446F-A8B8-C502FA334877}"/>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22265098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856424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499274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D6AC71EE-BE51-9FBB-DB36-F00E8A556F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32082308"/>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3548329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6470822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634597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6787471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03947968"/>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0262000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4916965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392069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1871705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482867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5FE493DA-9CD1-498A-C08A-2DA5F2E94D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42083877"/>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37231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15179991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76879062"/>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78025797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4031813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41260126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655859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6404803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5359496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6043070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8569505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86935822"/>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252386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58618661"/>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0115659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487861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9654812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7787966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3636403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3334506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0615290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1723046"/>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400714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214141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2269338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56176377"/>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7834557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83647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8930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262268"/>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769493"/>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49086548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ags" Target="../tags/tag6.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tags" Target="../tags/tag4.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9" Type="http://schemas.openxmlformats.org/officeDocument/2006/relationships/slideLayout" Target="../slideLayouts/slideLayout96.xml"/><Relationship Id="rId21" Type="http://schemas.openxmlformats.org/officeDocument/2006/relationships/slideLayout" Target="../slideLayouts/slideLayout78.xml"/><Relationship Id="rId34" Type="http://schemas.openxmlformats.org/officeDocument/2006/relationships/slideLayout" Target="../slideLayouts/slideLayout91.xml"/><Relationship Id="rId42" Type="http://schemas.openxmlformats.org/officeDocument/2006/relationships/slideLayout" Target="../slideLayouts/slideLayout99.xml"/><Relationship Id="rId47" Type="http://schemas.openxmlformats.org/officeDocument/2006/relationships/tags" Target="../tags/tag8.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9" Type="http://schemas.openxmlformats.org/officeDocument/2006/relationships/slideLayout" Target="../slideLayouts/slideLayout86.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37" Type="http://schemas.openxmlformats.org/officeDocument/2006/relationships/slideLayout" Target="../slideLayouts/slideLayout94.xml"/><Relationship Id="rId40" Type="http://schemas.openxmlformats.org/officeDocument/2006/relationships/slideLayout" Target="../slideLayouts/slideLayout97.xml"/><Relationship Id="rId45" Type="http://schemas.openxmlformats.org/officeDocument/2006/relationships/theme" Target="../theme/theme2.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36" Type="http://schemas.openxmlformats.org/officeDocument/2006/relationships/slideLayout" Target="../slideLayouts/slideLayout93.xml"/><Relationship Id="rId49" Type="http://schemas.openxmlformats.org/officeDocument/2006/relationships/image" Target="../media/image1.emf"/><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4" Type="http://schemas.openxmlformats.org/officeDocument/2006/relationships/slideLayout" Target="../slideLayouts/slideLayout101.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 Id="rId35" Type="http://schemas.openxmlformats.org/officeDocument/2006/relationships/slideLayout" Target="../slideLayouts/slideLayout92.xml"/><Relationship Id="rId43" Type="http://schemas.openxmlformats.org/officeDocument/2006/relationships/slideLayout" Target="../slideLayouts/slideLayout100.xml"/><Relationship Id="rId48" Type="http://schemas.openxmlformats.org/officeDocument/2006/relationships/tags" Target="../tags/tag9.xml"/><Relationship Id="rId8" Type="http://schemas.openxmlformats.org/officeDocument/2006/relationships/slideLayout" Target="../slideLayouts/slideLayout65.xml"/><Relationship Id="rId3" Type="http://schemas.openxmlformats.org/officeDocument/2006/relationships/slideLayout" Target="../slideLayouts/slideLayout60.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slideLayout" Target="../slideLayouts/slideLayout90.xml"/><Relationship Id="rId38" Type="http://schemas.openxmlformats.org/officeDocument/2006/relationships/slideLayout" Target="../slideLayouts/slideLayout95.xml"/><Relationship Id="rId46" Type="http://schemas.openxmlformats.org/officeDocument/2006/relationships/tags" Target="../tags/tag7.xml"/><Relationship Id="rId20" Type="http://schemas.openxmlformats.org/officeDocument/2006/relationships/slideLayout" Target="../slideLayouts/slideLayout77.xml"/><Relationship Id="rId41" Type="http://schemas.openxmlformats.org/officeDocument/2006/relationships/slideLayout" Target="../slideLayouts/slideLayout98.xml"/><Relationship Id="rId1" Type="http://schemas.openxmlformats.org/officeDocument/2006/relationships/slideLayout" Target="../slideLayouts/slideLayout58.xml"/><Relationship Id="rId6"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4"/>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6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04472E61-8EEC-9099-4C05-0E7DE2802B4C}"/>
              </a:ext>
              <a:ext uri="{C183D7F6-B498-43B3-948B-1728B52AA6E4}">
                <adec:decorative xmlns:adec="http://schemas.microsoft.com/office/drawing/2017/decorative" val="1"/>
              </a:ext>
            </a:extLst>
          </p:cNvPr>
          <p:cNvSpPr/>
          <p:nvPr userDrawn="1">
            <p:custDataLst>
              <p:tags r:id="rId6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EEA6D12D-2715-BE62-C597-699C002E54AE}"/>
              </a:ext>
            </a:extLst>
          </p:cNvPr>
          <p:cNvSpPr/>
          <p:nvPr userDrawn="1">
            <p:custDataLst>
              <p:tags r:id="rId6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4216960"/>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744" r:id="rId51"/>
    <p:sldLayoutId id="2147483707" r:id="rId52"/>
    <p:sldLayoutId id="2147483708" r:id="rId53"/>
    <p:sldLayoutId id="2147483736" r:id="rId54"/>
    <p:sldLayoutId id="2147483752" r:id="rId55"/>
    <p:sldLayoutId id="2147483737" r:id="rId56"/>
    <p:sldLayoutId id="2147483727" r:id="rId57"/>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5699054"/>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 id="2147483839" r:id="rId29"/>
    <p:sldLayoutId id="2147483840" r:id="rId30"/>
    <p:sldLayoutId id="2147483841" r:id="rId31"/>
    <p:sldLayoutId id="2147483842" r:id="rId32"/>
    <p:sldLayoutId id="2147483843" r:id="rId33"/>
    <p:sldLayoutId id="2147483844" r:id="rId34"/>
    <p:sldLayoutId id="2147483845" r:id="rId35"/>
    <p:sldLayoutId id="2147483846" r:id="rId36"/>
    <p:sldLayoutId id="2147483847" r:id="rId37"/>
    <p:sldLayoutId id="2147483848" r:id="rId38"/>
    <p:sldLayoutId id="2147483849" r:id="rId39"/>
    <p:sldLayoutId id="2147483850" r:id="rId40"/>
    <p:sldLayoutId id="2147483851" r:id="rId41"/>
    <p:sldLayoutId id="2147483852" r:id="rId42"/>
    <p:sldLayoutId id="2147483853" r:id="rId43"/>
    <p:sldLayoutId id="2147483854"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8.xml"/><Relationship Id="rId7" Type="http://schemas.microsoft.com/office/2007/relationships/diagramDrawing" Target="../diagrams/drawing8.xml"/><Relationship Id="rId12"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diagramColors" Target="../diagrams/colors8.xml"/><Relationship Id="rId11" Type="http://schemas.openxmlformats.org/officeDocument/2006/relationships/image" Target="../media/image10.png"/><Relationship Id="rId5" Type="http://schemas.openxmlformats.org/officeDocument/2006/relationships/diagramQuickStyle" Target="../diagrams/quickStyle8.xml"/><Relationship Id="rId10" Type="http://schemas.openxmlformats.org/officeDocument/2006/relationships/image" Target="../media/image9.png"/><Relationship Id="rId4" Type="http://schemas.openxmlformats.org/officeDocument/2006/relationships/diagramLayout" Target="../diagrams/layout8.xml"/><Relationship Id="rId9"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7.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0.xml"/><Relationship Id="rId1" Type="http://schemas.openxmlformats.org/officeDocument/2006/relationships/tags" Target="../tags/tag14.xml"/><Relationship Id="rId4" Type="http://schemas.openxmlformats.org/officeDocument/2006/relationships/image" Target="../media/image13.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4.jpeg"/><Relationship Id="rId4"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8.xml"/><Relationship Id="rId1" Type="http://schemas.openxmlformats.org/officeDocument/2006/relationships/slideLayout" Target="../slideLayouts/slideLayout48.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9.xml"/><Relationship Id="rId1" Type="http://schemas.openxmlformats.org/officeDocument/2006/relationships/slideLayout" Target="../slideLayouts/slideLayout48.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9.xml"/><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9.xml"/></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49.xml"/><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49.xml"/><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49.xml"/><Relationship Id="rId4" Type="http://schemas.openxmlformats.org/officeDocument/2006/relationships/image" Target="../media/image22.png"/></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49.xml"/><Relationship Id="rId4" Type="http://schemas.openxmlformats.org/officeDocument/2006/relationships/image" Target="../media/image22.png"/></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49.xml"/><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49.xml"/><Relationship Id="rId4" Type="http://schemas.openxmlformats.org/officeDocument/2006/relationships/image" Target="../media/image22.png"/></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9.xml"/></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9.xml"/></Relationships>
</file>

<file path=ppt/slides/_rels/slide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9.xml"/></Relationships>
</file>

<file path=ppt/slides/_rels/slide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9.xml"/></Relationships>
</file>

<file path=ppt/slides/_rels/slide3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9.xml"/></Relationships>
</file>

<file path=ppt/slides/_rels/slide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6.xml"/><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7.xml"/><Relationship Id="rId1" Type="http://schemas.openxmlformats.org/officeDocument/2006/relationships/slideLayout" Target="../slideLayouts/slideLayout48.xml"/></Relationships>
</file>

<file path=ppt/slides/_rels/slide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48.xml"/></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48.xml"/></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48.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1.xml"/><Relationship Id="rId1" Type="http://schemas.openxmlformats.org/officeDocument/2006/relationships/slideLayout" Target="../slideLayouts/slideLayout48.xml"/></Relationships>
</file>

<file path=ppt/slides/_rels/slide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48.xml"/></Relationships>
</file>

<file path=ppt/slides/_rels/slide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50.xml"/></Relationships>
</file>

<file path=ppt/slides/_rels/slide4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5.xml"/><Relationship Id="rId1" Type="http://schemas.openxmlformats.org/officeDocument/2006/relationships/slideLayout" Target="../slideLayouts/slideLayout5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4.png"/><Relationship Id="rId2" Type="http://schemas.openxmlformats.org/officeDocument/2006/relationships/customXml" Target="../../customXml/item1.xml"/><Relationship Id="rId1" Type="http://schemas.openxmlformats.org/officeDocument/2006/relationships/tags" Target="../tags/tag10.xml"/><Relationship Id="rId6" Type="http://schemas.openxmlformats.org/officeDocument/2006/relationships/notesSlide" Target="../notesSlides/notesSlide2.xml"/><Relationship Id="rId5" Type="http://schemas.openxmlformats.org/officeDocument/2006/relationships/slideLayout" Target="../slideLayouts/slideLayout9.xml"/><Relationship Id="rId4" Type="http://schemas.openxmlformats.org/officeDocument/2006/relationships/tags" Target="../tags/tag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1.png"/><Relationship Id="rId4" Type="http://schemas.openxmlformats.org/officeDocument/2006/relationships/notesSlide" Target="../notesSlides/notesSlide36.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4.jpeg"/><Relationship Id="rId4" Type="http://schemas.openxmlformats.org/officeDocument/2006/relationships/notesSlide" Target="../notesSlides/notesSlide37.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8.xml"/><Relationship Id="rId1" Type="http://schemas.openxmlformats.org/officeDocument/2006/relationships/slideLayout" Target="../slideLayouts/slideLayout14.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Plan Caching and Query Sto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8</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8F92A-0E0E-4D3B-A08D-A4B1353FA7F2}"/>
              </a:ext>
            </a:extLst>
          </p:cNvPr>
          <p:cNvSpPr>
            <a:spLocks noGrp="1"/>
          </p:cNvSpPr>
          <p:nvPr>
            <p:ph type="title"/>
          </p:nvPr>
        </p:nvSpPr>
        <p:spPr>
          <a:xfrm>
            <a:off x="679269" y="320040"/>
            <a:ext cx="10857094" cy="461665"/>
          </a:xfrm>
        </p:spPr>
        <p:txBody>
          <a:bodyPr/>
          <a:lstStyle/>
          <a:p>
            <a:r>
              <a:rPr lang="en-US" dirty="0"/>
              <a:t>Relationships between DMOs</a:t>
            </a:r>
          </a:p>
        </p:txBody>
      </p:sp>
      <p:sp>
        <p:nvSpPr>
          <p:cNvPr id="5" name="Rectangle 4">
            <a:extLst>
              <a:ext uri="{FF2B5EF4-FFF2-40B4-BE49-F238E27FC236}">
                <a16:creationId xmlns:a16="http://schemas.microsoft.com/office/drawing/2014/main" id="{69B73290-F650-4355-A653-17468CE10FAD}"/>
              </a:ext>
            </a:extLst>
          </p:cNvPr>
          <p:cNvSpPr/>
          <p:nvPr/>
        </p:nvSpPr>
        <p:spPr bwMode="auto">
          <a:xfrm>
            <a:off x="4790921" y="1328109"/>
            <a:ext cx="2610157" cy="838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t>sys.dm_exec_cached_plans</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553A92EB-C277-423B-BE0F-7A9BFA432B0B}"/>
              </a:ext>
            </a:extLst>
          </p:cNvPr>
          <p:cNvSpPr/>
          <p:nvPr/>
        </p:nvSpPr>
        <p:spPr bwMode="auto">
          <a:xfrm>
            <a:off x="3263041" y="4582232"/>
            <a:ext cx="2610157" cy="838200"/>
          </a:xfrm>
          <a:prstGeom prst="rect">
            <a:avLst/>
          </a:prstGeom>
          <a:solidFill>
            <a:srgbClr val="3B5AC4"/>
          </a:solidFill>
          <a:ln>
            <a:solidFill>
              <a:srgbClr val="3B5A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a:r>
              <a:rPr lang="en-US" sz="1400" dirty="0"/>
              <a:t>sys.dm_exec_query_plan()</a:t>
            </a:r>
          </a:p>
        </p:txBody>
      </p:sp>
      <p:sp>
        <p:nvSpPr>
          <p:cNvPr id="7" name="Rectangle 6">
            <a:extLst>
              <a:ext uri="{FF2B5EF4-FFF2-40B4-BE49-F238E27FC236}">
                <a16:creationId xmlns:a16="http://schemas.microsoft.com/office/drawing/2014/main" id="{B1085922-86B0-4E99-B4C0-255ED11E6C2C}"/>
              </a:ext>
            </a:extLst>
          </p:cNvPr>
          <p:cNvSpPr/>
          <p:nvPr/>
        </p:nvSpPr>
        <p:spPr bwMode="auto">
          <a:xfrm>
            <a:off x="6508686" y="4582232"/>
            <a:ext cx="2610157" cy="838200"/>
          </a:xfrm>
          <a:prstGeom prst="rect">
            <a:avLst/>
          </a:prstGeom>
          <a:solidFill>
            <a:schemeClr val="accent5"/>
          </a:solidFill>
          <a:ln>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a:r>
              <a:rPr lang="en-US" sz="1400" dirty="0"/>
              <a:t>sys.dm_exec_sql_text()</a:t>
            </a:r>
          </a:p>
        </p:txBody>
      </p:sp>
      <p:sp>
        <p:nvSpPr>
          <p:cNvPr id="10" name="Rectangle 9">
            <a:extLst>
              <a:ext uri="{FF2B5EF4-FFF2-40B4-BE49-F238E27FC236}">
                <a16:creationId xmlns:a16="http://schemas.microsoft.com/office/drawing/2014/main" id="{F3C464DF-700D-4809-B529-1A93FB74381A}"/>
              </a:ext>
            </a:extLst>
          </p:cNvPr>
          <p:cNvSpPr/>
          <p:nvPr/>
        </p:nvSpPr>
        <p:spPr bwMode="auto">
          <a:xfrm>
            <a:off x="4790921" y="2874358"/>
            <a:ext cx="2610157" cy="838200"/>
          </a:xfrm>
          <a:prstGeom prst="rect">
            <a:avLst/>
          </a:prstGeom>
          <a:solidFill>
            <a:srgbClr val="2A97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t>sys.dm_exec_query_stats</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Arrow Connector 12">
            <a:extLst>
              <a:ext uri="{FF2B5EF4-FFF2-40B4-BE49-F238E27FC236}">
                <a16:creationId xmlns:a16="http://schemas.microsoft.com/office/drawing/2014/main" id="{B0C09F7F-86C9-450E-B473-3F57068ACE6A}"/>
              </a:ext>
            </a:extLst>
          </p:cNvPr>
          <p:cNvCxnSpPr>
            <a:cxnSpLocks/>
            <a:stCxn id="5" idx="2"/>
            <a:endCxn id="10" idx="0"/>
          </p:cNvCxnSpPr>
          <p:nvPr/>
        </p:nvCxnSpPr>
        <p:spPr>
          <a:xfrm>
            <a:off x="6096000" y="2166309"/>
            <a:ext cx="0" cy="70804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F98BEE3-56E8-42C2-8A79-A971C558FF85}"/>
              </a:ext>
            </a:extLst>
          </p:cNvPr>
          <p:cNvCxnSpPr>
            <a:cxnSpLocks/>
            <a:stCxn id="10" idx="2"/>
            <a:endCxn id="6" idx="0"/>
          </p:cNvCxnSpPr>
          <p:nvPr/>
        </p:nvCxnSpPr>
        <p:spPr>
          <a:xfrm flipH="1">
            <a:off x="4568120" y="3712558"/>
            <a:ext cx="1527880" cy="86967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262FF271-BCCD-4328-91F7-DEEEA42DF968}"/>
              </a:ext>
            </a:extLst>
          </p:cNvPr>
          <p:cNvCxnSpPr>
            <a:cxnSpLocks/>
            <a:stCxn id="10" idx="2"/>
            <a:endCxn id="7" idx="0"/>
          </p:cNvCxnSpPr>
          <p:nvPr/>
        </p:nvCxnSpPr>
        <p:spPr>
          <a:xfrm>
            <a:off x="6096000" y="3712558"/>
            <a:ext cx="1717765" cy="86967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834C5F4-7343-45AE-A831-1653AC98B2DC}"/>
              </a:ext>
            </a:extLst>
          </p:cNvPr>
          <p:cNvSpPr txBox="1"/>
          <p:nvPr/>
        </p:nvSpPr>
        <p:spPr>
          <a:xfrm>
            <a:off x="4790921" y="4051581"/>
            <a:ext cx="1295400" cy="215444"/>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plan_handle</a:t>
            </a:r>
          </a:p>
        </p:txBody>
      </p:sp>
      <p:sp>
        <p:nvSpPr>
          <p:cNvPr id="38" name="TextBox 37">
            <a:extLst>
              <a:ext uri="{FF2B5EF4-FFF2-40B4-BE49-F238E27FC236}">
                <a16:creationId xmlns:a16="http://schemas.microsoft.com/office/drawing/2014/main" id="{021B8E0D-6A61-4B6F-B06B-B74393601C17}"/>
              </a:ext>
            </a:extLst>
          </p:cNvPr>
          <p:cNvSpPr txBox="1"/>
          <p:nvPr/>
        </p:nvSpPr>
        <p:spPr>
          <a:xfrm>
            <a:off x="6487292" y="3947689"/>
            <a:ext cx="1295400"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plan_handle</a:t>
            </a:r>
          </a:p>
          <a:p>
            <a:pPr algn="ctr"/>
            <a:r>
              <a:rPr lang="en-US" sz="1400" i="1" dirty="0">
                <a:gradFill>
                  <a:gsLst>
                    <a:gs pos="2917">
                      <a:schemeClr val="tx1"/>
                    </a:gs>
                    <a:gs pos="30000">
                      <a:schemeClr val="tx1"/>
                    </a:gs>
                  </a:gsLst>
                  <a:lin ang="5400000" scaled="0"/>
                </a:gradFill>
              </a:rPr>
              <a:t>or </a:t>
            </a:r>
            <a:r>
              <a:rPr lang="en-US" sz="1400" dirty="0">
                <a:gradFill>
                  <a:gsLst>
                    <a:gs pos="2917">
                      <a:schemeClr val="tx1"/>
                    </a:gs>
                    <a:gs pos="30000">
                      <a:schemeClr val="tx1"/>
                    </a:gs>
                  </a:gsLst>
                  <a:lin ang="5400000" scaled="0"/>
                </a:gradFill>
              </a:rPr>
              <a:t>sql_handle</a:t>
            </a:r>
          </a:p>
        </p:txBody>
      </p:sp>
      <p:sp>
        <p:nvSpPr>
          <p:cNvPr id="43" name="TextBox 42">
            <a:extLst>
              <a:ext uri="{FF2B5EF4-FFF2-40B4-BE49-F238E27FC236}">
                <a16:creationId xmlns:a16="http://schemas.microsoft.com/office/drawing/2014/main" id="{209C18E2-F59B-4654-80C0-22A61F51B0EC}"/>
              </a:ext>
            </a:extLst>
          </p:cNvPr>
          <p:cNvSpPr txBox="1"/>
          <p:nvPr/>
        </p:nvSpPr>
        <p:spPr>
          <a:xfrm>
            <a:off x="5511990" y="2368073"/>
            <a:ext cx="1295400" cy="215444"/>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plan_handle</a:t>
            </a:r>
          </a:p>
        </p:txBody>
      </p:sp>
    </p:spTree>
    <p:extLst>
      <p:ext uri="{BB962C8B-B14F-4D97-AF65-F5344CB8AC3E}">
        <p14:creationId xmlns:p14="http://schemas.microsoft.com/office/powerpoint/2010/main" val="20775113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38220-D8B1-49CC-9566-02F4E21AEB39}"/>
              </a:ext>
            </a:extLst>
          </p:cNvPr>
          <p:cNvSpPr>
            <a:spLocks noGrp="1"/>
          </p:cNvSpPr>
          <p:nvPr>
            <p:ph type="title"/>
          </p:nvPr>
        </p:nvSpPr>
        <p:spPr/>
        <p:txBody>
          <a:bodyPr/>
          <a:lstStyle/>
          <a:p>
            <a:r>
              <a:rPr lang="en-US" dirty="0"/>
              <a:t>Captured Metrics (sys.dm_exec_query_stats ) </a:t>
            </a:r>
          </a:p>
        </p:txBody>
      </p:sp>
      <p:graphicFrame>
        <p:nvGraphicFramePr>
          <p:cNvPr id="6" name="Content Placeholder 5">
            <a:extLst>
              <a:ext uri="{FF2B5EF4-FFF2-40B4-BE49-F238E27FC236}">
                <a16:creationId xmlns:a16="http://schemas.microsoft.com/office/drawing/2014/main" id="{5B8AE85A-49AB-4B7D-B64D-F4C588116D35}"/>
              </a:ext>
            </a:extLst>
          </p:cNvPr>
          <p:cNvGraphicFramePr>
            <a:graphicFrameLocks noGrp="1"/>
          </p:cNvGraphicFramePr>
          <p:nvPr>
            <p:ph sz="quarter" idx="13"/>
            <p:extLst>
              <p:ext uri="{D42A27DB-BD31-4B8C-83A1-F6EECF244321}">
                <p14:modId xmlns:p14="http://schemas.microsoft.com/office/powerpoint/2010/main" val="3641679145"/>
              </p:ext>
            </p:extLst>
          </p:nvPr>
        </p:nvGraphicFramePr>
        <p:xfrm>
          <a:off x="655638" y="1408113"/>
          <a:ext cx="528478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ontent Placeholder 6">
            <a:extLst>
              <a:ext uri="{FF2B5EF4-FFF2-40B4-BE49-F238E27FC236}">
                <a16:creationId xmlns:a16="http://schemas.microsoft.com/office/drawing/2014/main" id="{07B58EF0-D344-4EB4-BD4B-728143E8897D}"/>
              </a:ext>
            </a:extLst>
          </p:cNvPr>
          <p:cNvGraphicFramePr>
            <a:graphicFrameLocks noGrp="1"/>
          </p:cNvGraphicFramePr>
          <p:nvPr>
            <p:ph sz="quarter" idx="14"/>
            <p:extLst>
              <p:ext uri="{D42A27DB-BD31-4B8C-83A1-F6EECF244321}">
                <p14:modId xmlns:p14="http://schemas.microsoft.com/office/powerpoint/2010/main" val="2570305663"/>
              </p:ext>
            </p:extLst>
          </p:nvPr>
        </p:nvGraphicFramePr>
        <p:xfrm>
          <a:off x="6257926" y="1408113"/>
          <a:ext cx="5284785"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extBox 2">
            <a:extLst>
              <a:ext uri="{FF2B5EF4-FFF2-40B4-BE49-F238E27FC236}">
                <a16:creationId xmlns:a16="http://schemas.microsoft.com/office/drawing/2014/main" id="{3A8BC14F-2D98-4C89-B913-E0613170CAB5}"/>
              </a:ext>
            </a:extLst>
          </p:cNvPr>
          <p:cNvSpPr txBox="1"/>
          <p:nvPr/>
        </p:nvSpPr>
        <p:spPr>
          <a:xfrm>
            <a:off x="3314699" y="6335357"/>
            <a:ext cx="5562600" cy="307777"/>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Compute Average:  Avg = Total / Execution count</a:t>
            </a:r>
          </a:p>
        </p:txBody>
      </p:sp>
      <p:sp>
        <p:nvSpPr>
          <p:cNvPr id="8" name="Subtitle 2">
            <a:extLst>
              <a:ext uri="{FF2B5EF4-FFF2-40B4-BE49-F238E27FC236}">
                <a16:creationId xmlns:a16="http://schemas.microsoft.com/office/drawing/2014/main" id="{90108884-1DBA-4B16-BD7E-E94DE6853026}"/>
              </a:ext>
            </a:extLst>
          </p:cNvPr>
          <p:cNvSpPr txBox="1">
            <a:spLocks/>
          </p:cNvSpPr>
          <p:nvPr/>
        </p:nvSpPr>
        <p:spPr>
          <a:xfrm>
            <a:off x="655637" y="786383"/>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sz="2000" dirty="0"/>
              <a:t>Partial listing</a:t>
            </a:r>
          </a:p>
        </p:txBody>
      </p:sp>
    </p:spTree>
    <p:extLst>
      <p:ext uri="{BB962C8B-B14F-4D97-AF65-F5344CB8AC3E}">
        <p14:creationId xmlns:p14="http://schemas.microsoft.com/office/powerpoint/2010/main" val="25315630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31D056E-9049-4CA3-BF1F-DC2B7508DAAB}"/>
              </a:ext>
            </a:extLst>
          </p:cNvPr>
          <p:cNvSpPr/>
          <p:nvPr/>
        </p:nvSpPr>
        <p:spPr bwMode="auto">
          <a:xfrm>
            <a:off x="1101374" y="4678405"/>
            <a:ext cx="6735571" cy="381897"/>
          </a:xfrm>
          <a:prstGeom prst="rect">
            <a:avLst/>
          </a:prstGeom>
          <a:solidFill>
            <a:srgbClr val="FEF00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17A8A069-1E02-4EF1-915C-021D16EEB7E0}"/>
              </a:ext>
            </a:extLst>
          </p:cNvPr>
          <p:cNvSpPr>
            <a:spLocks noGrp="1"/>
          </p:cNvSpPr>
          <p:nvPr>
            <p:ph type="title"/>
          </p:nvPr>
        </p:nvSpPr>
        <p:spPr>
          <a:xfrm>
            <a:off x="655638" y="303711"/>
            <a:ext cx="10880725" cy="461665"/>
          </a:xfrm>
        </p:spPr>
        <p:txBody>
          <a:bodyPr/>
          <a:lstStyle/>
          <a:p>
            <a:r>
              <a:rPr lang="en-US" dirty="0"/>
              <a:t>Mining the Plan Cache with T-SQL</a:t>
            </a:r>
          </a:p>
        </p:txBody>
      </p:sp>
      <p:sp>
        <p:nvSpPr>
          <p:cNvPr id="3" name="Subtitle 2">
            <a:extLst>
              <a:ext uri="{FF2B5EF4-FFF2-40B4-BE49-F238E27FC236}">
                <a16:creationId xmlns:a16="http://schemas.microsoft.com/office/drawing/2014/main" id="{240C0451-E3AC-45B7-8F9F-0534A6FA7219}"/>
              </a:ext>
            </a:extLst>
          </p:cNvPr>
          <p:cNvSpPr>
            <a:spLocks noGrp="1"/>
          </p:cNvSpPr>
          <p:nvPr>
            <p:ph type="subTitle" idx="1"/>
          </p:nvPr>
        </p:nvSpPr>
        <p:spPr/>
        <p:txBody>
          <a:bodyPr/>
          <a:lstStyle/>
          <a:p>
            <a:r>
              <a:rPr lang="en-US" dirty="0"/>
              <a:t>Top 10 plans by logical reads</a:t>
            </a:r>
          </a:p>
        </p:txBody>
      </p:sp>
      <p:sp>
        <p:nvSpPr>
          <p:cNvPr id="7" name="Rectangle 6">
            <a:extLst>
              <a:ext uri="{FF2B5EF4-FFF2-40B4-BE49-F238E27FC236}">
                <a16:creationId xmlns:a16="http://schemas.microsoft.com/office/drawing/2014/main" id="{3347287B-EEB8-4B84-ADF1-D7050BAA2A15}"/>
              </a:ext>
            </a:extLst>
          </p:cNvPr>
          <p:cNvSpPr/>
          <p:nvPr/>
        </p:nvSpPr>
        <p:spPr>
          <a:xfrm>
            <a:off x="595765" y="1550576"/>
            <a:ext cx="11530921" cy="4401205"/>
          </a:xfrm>
          <a:prstGeom prst="rect">
            <a:avLst/>
          </a:prstGeom>
          <a:ln>
            <a:solidFill>
              <a:schemeClr val="accent1"/>
            </a:solidFill>
          </a:ln>
        </p:spPr>
        <p:txBody>
          <a:bodyPr wrap="square">
            <a:spAutoFit/>
          </a:bodyPr>
          <a:lstStyle/>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dbi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32767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a:t>
            </a:r>
            <a:r>
              <a:rPr lang="en-US" sz="1400" dirty="0">
                <a:solidFill>
                  <a:srgbClr val="FF0000"/>
                </a:solidFill>
                <a:latin typeface="Consolas" panose="020B0609020204030204" pitchFamily="49" charset="0"/>
              </a:rPr>
              <a:t>'resourcedb'</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a:t>
            </a:r>
            <a:r>
              <a:rPr lang="en-US" sz="1400" dirty="0">
                <a:solidFill>
                  <a:srgbClr val="FF0000"/>
                </a:solidFill>
                <a:latin typeface="Consolas" panose="020B0609020204030204" pitchFamily="49" charset="0"/>
              </a:rPr>
              <a:t>'NA'</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LSE</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DB_NAM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dbid</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databas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OBJECT_NAM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objecti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object_name</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SUBSTRING</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tex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start_offse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end_offse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DATALENGTH</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text</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LSE</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end_offset </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start_offse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ql_statemen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exec_coun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logical_read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CPU_m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time_m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logical_write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p</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query_plan</a:t>
            </a:r>
          </a:p>
          <a:p>
            <a:r>
              <a:rPr lang="en-US" sz="1400" dirty="0">
                <a:solidFill>
                  <a:srgbClr val="0000FF"/>
                </a:solidFill>
                <a:latin typeface="Consolas" panose="020B0609020204030204" pitchFamily="49" charset="0"/>
              </a:rPr>
              <a:t>FROM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OP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0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plan_handl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ement_start_offse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ement_end_offset</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execution_coun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exec_count</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total_worker_time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000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CPU_m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elapsed_time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000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time_m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total_logical_reads </a:t>
            </a:r>
            <a:r>
              <a:rPr lang="en-US" sz="1400" dirty="0">
                <a:solidFill>
                  <a:srgbClr val="808080"/>
                </a:solidFill>
                <a:latin typeface="Consolas" panose="020B0609020204030204" pitchFamily="49" charset="0"/>
              </a:rPr>
              <a:t>&gt;</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THEN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logical_read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	       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logical_read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total_logical_writes </a:t>
            </a:r>
            <a:r>
              <a:rPr lang="en-US" sz="1400" dirty="0">
                <a:solidFill>
                  <a:srgbClr val="808080"/>
                </a:solidFill>
                <a:latin typeface="Consolas" panose="020B0609020204030204" pitchFamily="49" charset="0"/>
              </a:rPr>
              <a:t>&gt;</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THEN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logical_write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	       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logical_writes</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ROM</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query_stats</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ORDER</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BY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logical_read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SC</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qs</a:t>
            </a:r>
          </a:p>
          <a:p>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CROSS</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PPLY</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sql_tex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plan_handl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
            </a:r>
          </a:p>
          <a:p>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CROSS</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PPLY</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query_plan</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plan_handl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p</a:t>
            </a:r>
          </a:p>
          <a:p>
            <a:r>
              <a:rPr lang="en-US" sz="1400" dirty="0">
                <a:solidFill>
                  <a:srgbClr val="0000FF"/>
                </a:solidFill>
                <a:latin typeface="Consolas" panose="020B0609020204030204" pitchFamily="49" charset="0"/>
              </a:rPr>
              <a:t>ORDER</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BY</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logical_reads </a:t>
            </a:r>
            <a:r>
              <a:rPr lang="en-US" sz="1400" dirty="0">
                <a:solidFill>
                  <a:srgbClr val="0000FF"/>
                </a:solidFill>
                <a:latin typeface="Consolas" panose="020B0609020204030204" pitchFamily="49" charset="0"/>
              </a:rPr>
              <a:t>DESC</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OPTION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COMPIL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p>
        </p:txBody>
      </p:sp>
      <p:pic>
        <p:nvPicPr>
          <p:cNvPr id="4" name="Picture 3">
            <a:extLst>
              <a:ext uri="{FF2B5EF4-FFF2-40B4-BE49-F238E27FC236}">
                <a16:creationId xmlns:a16="http://schemas.microsoft.com/office/drawing/2014/main" id="{6F3C3E11-95F5-45C5-B490-A924262C6B18}"/>
              </a:ext>
            </a:extLst>
          </p:cNvPr>
          <p:cNvPicPr>
            <a:picLocks noChangeAspect="1"/>
          </p:cNvPicPr>
          <p:nvPr/>
        </p:nvPicPr>
        <p:blipFill>
          <a:blip r:embed="rId3"/>
          <a:stretch>
            <a:fillRect/>
          </a:stretch>
        </p:blipFill>
        <p:spPr>
          <a:xfrm>
            <a:off x="1006474" y="2451455"/>
            <a:ext cx="10880725" cy="2226950"/>
          </a:xfrm>
          <a:prstGeom prst="rect">
            <a:avLst/>
          </a:prstGeom>
          <a:ln w="1905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75725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721D9-C107-4D5A-B48B-B992621FADC7}"/>
              </a:ext>
            </a:extLst>
          </p:cNvPr>
          <p:cNvSpPr>
            <a:spLocks noGrp="1"/>
          </p:cNvSpPr>
          <p:nvPr>
            <p:ph type="title"/>
          </p:nvPr>
        </p:nvSpPr>
        <p:spPr>
          <a:xfrm>
            <a:off x="655638" y="287383"/>
            <a:ext cx="10880725" cy="461665"/>
          </a:xfrm>
        </p:spPr>
        <p:txBody>
          <a:bodyPr/>
          <a:lstStyle/>
          <a:p>
            <a:r>
              <a:rPr lang="en-US" dirty="0"/>
              <a:t>Cache Plan Bloat	</a:t>
            </a:r>
          </a:p>
        </p:txBody>
      </p:sp>
      <p:sp>
        <p:nvSpPr>
          <p:cNvPr id="3" name="Subtitle 2">
            <a:extLst>
              <a:ext uri="{FF2B5EF4-FFF2-40B4-BE49-F238E27FC236}">
                <a16:creationId xmlns:a16="http://schemas.microsoft.com/office/drawing/2014/main" id="{76D68A99-F73F-4DA3-A076-996FB915B73C}"/>
              </a:ext>
            </a:extLst>
          </p:cNvPr>
          <p:cNvSpPr>
            <a:spLocks noGrp="1"/>
          </p:cNvSpPr>
          <p:nvPr>
            <p:ph type="subTitle" idx="1"/>
          </p:nvPr>
        </p:nvSpPr>
        <p:spPr/>
        <p:txBody>
          <a:bodyPr/>
          <a:lstStyle/>
          <a:p>
            <a:r>
              <a:rPr lang="en-US" dirty="0"/>
              <a:t>Caused by </a:t>
            </a:r>
            <a:r>
              <a:rPr lang="en-US" i="1" dirty="0"/>
              <a:t>ad hoc </a:t>
            </a:r>
            <a:r>
              <a:rPr lang="en-US" dirty="0"/>
              <a:t>SQL</a:t>
            </a:r>
          </a:p>
        </p:txBody>
      </p:sp>
      <p:graphicFrame>
        <p:nvGraphicFramePr>
          <p:cNvPr id="6" name="Content Placeholder 5">
            <a:extLst>
              <a:ext uri="{FF2B5EF4-FFF2-40B4-BE49-F238E27FC236}">
                <a16:creationId xmlns:a16="http://schemas.microsoft.com/office/drawing/2014/main" id="{59048E88-1954-41B7-8B8B-D2ABDC6142D2}"/>
              </a:ext>
            </a:extLst>
          </p:cNvPr>
          <p:cNvGraphicFramePr>
            <a:graphicFrameLocks noGrp="1"/>
          </p:cNvGraphicFramePr>
          <p:nvPr>
            <p:ph sz="quarter" idx="13"/>
            <p:extLst>
              <p:ext uri="{D42A27DB-BD31-4B8C-83A1-F6EECF244321}">
                <p14:modId xmlns:p14="http://schemas.microsoft.com/office/powerpoint/2010/main" val="3833494836"/>
              </p:ext>
            </p:extLst>
          </p:nvPr>
        </p:nvGraphicFramePr>
        <p:xfrm>
          <a:off x="655638" y="1408114"/>
          <a:ext cx="10880726" cy="2630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81092128-01F3-42D3-93C4-DCA71C6446E4}"/>
              </a:ext>
            </a:extLst>
          </p:cNvPr>
          <p:cNvSpPr/>
          <p:nvPr/>
        </p:nvSpPr>
        <p:spPr>
          <a:xfrm>
            <a:off x="463732" y="4441882"/>
            <a:ext cx="11197813" cy="1815882"/>
          </a:xfrm>
          <a:prstGeom prst="rect">
            <a:avLst/>
          </a:prstGeom>
          <a:ln>
            <a:solidFill>
              <a:schemeClr val="accent1"/>
            </a:solidFill>
          </a:ln>
        </p:spPr>
        <p:txBody>
          <a:bodyPr wrap="square">
            <a:spAutoFit/>
          </a:bodyPr>
          <a:lstStyle/>
          <a:p>
            <a:r>
              <a:rPr lang="en-US" sz="1400" dirty="0">
                <a:solidFill>
                  <a:srgbClr val="008000"/>
                </a:solidFill>
                <a:latin typeface="Consolas" panose="020B0609020204030204" pitchFamily="49" charset="0"/>
              </a:rPr>
              <a:t>-- Plan cache contents and memory use by object type</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objtyp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COUNT_BIG</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plan_coun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SUM</a:t>
            </a:r>
            <a:r>
              <a:rPr lang="en-US" sz="1400" dirty="0">
                <a:solidFill>
                  <a:srgbClr val="808080"/>
                </a:solidFill>
                <a:latin typeface="Consolas" panose="020B0609020204030204" pitchFamily="49" charset="0"/>
              </a:rPr>
              <a:t>(</a:t>
            </a:r>
            <a:r>
              <a:rPr lang="en-US" sz="1400" dirty="0">
                <a:solidFill>
                  <a:srgbClr val="FF00FF"/>
                </a:solidFill>
                <a:latin typeface="Consolas" panose="020B0609020204030204" pitchFamily="49" charset="0"/>
              </a:rPr>
              <a:t>CAS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ize_in_bytes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CIMAL</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ize_mb</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AVG</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usecount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use_counts</a:t>
            </a:r>
            <a:r>
              <a:rPr lang="en-US" sz="1400" dirty="0">
                <a:solidFill>
                  <a:srgbClr val="808080"/>
                </a:solidFill>
                <a:latin typeface="Consolas" panose="020B0609020204030204" pitchFamily="49" charset="0"/>
              </a:rPr>
              <a:t>, </a:t>
            </a:r>
            <a:r>
              <a:rPr lang="en-US" sz="1400" dirty="0">
                <a:solidFill>
                  <a:srgbClr val="FF00FF"/>
                </a:solidFill>
                <a:latin typeface="Consolas" panose="020B0609020204030204" pitchFamily="49" charset="0"/>
              </a:rPr>
              <a:t>SUM</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usecount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1 </a:t>
            </a:r>
            <a:r>
              <a:rPr lang="en-US" sz="1400" dirty="0">
                <a:solidFill>
                  <a:srgbClr val="0000FF"/>
                </a:solidFill>
                <a:latin typeface="Consolas" panose="020B0609020204030204" pitchFamily="49" charset="0"/>
              </a:rPr>
              <a:t>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ingle_use_plan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SUM</a:t>
            </a:r>
            <a:r>
              <a:rPr lang="en-US" sz="1400" dirty="0">
                <a:solidFill>
                  <a:srgbClr val="808080"/>
                </a:solidFill>
                <a:latin typeface="Consolas" panose="020B0609020204030204" pitchFamily="49" charset="0"/>
              </a:rPr>
              <a:t>(</a:t>
            </a:r>
            <a:r>
              <a:rPr lang="en-US" sz="1400" dirty="0">
                <a:solidFill>
                  <a:srgbClr val="FF00FF"/>
                </a:solidFill>
                <a:latin typeface="Consolas" panose="020B0609020204030204" pitchFamily="49" charset="0"/>
              </a:rPr>
              <a:t>CA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usecount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size_in_bytes</a:t>
            </a:r>
            <a:endParaRPr lang="en-US" sz="1400" dirty="0">
              <a:solidFill>
                <a:srgbClr val="0000FF"/>
              </a:solidFill>
              <a:latin typeface="Consolas" panose="020B0609020204030204" pitchFamily="49" charset="0"/>
            </a:endParaRPr>
          </a:p>
          <a:p>
            <a:r>
              <a:rPr lang="en-US" sz="1400" dirty="0">
                <a:solidFill>
                  <a:srgbClr val="0000FF"/>
                </a:solidFill>
                <a:latin typeface="Consolas" panose="020B0609020204030204" pitchFamily="49" charset="0"/>
              </a:rPr>
              <a:t>                       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CIMAL</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ingle_use_mb</a:t>
            </a:r>
          </a:p>
          <a:p>
            <a:r>
              <a:rPr lang="en-US" sz="1400" dirty="0">
                <a:solidFill>
                  <a:srgbClr val="0000FF"/>
                </a:solidFill>
                <a:latin typeface="Consolas" panose="020B0609020204030204" pitchFamily="49" charset="0"/>
              </a:rPr>
              <a:t>FROM</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cached_plans</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WHERE</a:t>
            </a:r>
            <a:r>
              <a:rPr lang="en-US" sz="1400" dirty="0">
                <a:solidFill>
                  <a:srgbClr val="000000"/>
                </a:solidFill>
                <a:latin typeface="Consolas" panose="020B0609020204030204" pitchFamily="49" charset="0"/>
              </a:rPr>
              <a:t> cacheobjtype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00"/>
                </a:solidFill>
                <a:latin typeface="Consolas" panose="020B0609020204030204" pitchFamily="49" charset="0"/>
              </a:rPr>
              <a:t>N'Compiled Plan'</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GROUP</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BY</a:t>
            </a:r>
            <a:r>
              <a:rPr lang="en-US" sz="1400" dirty="0">
                <a:solidFill>
                  <a:srgbClr val="000000"/>
                </a:solidFill>
                <a:latin typeface="Consolas" panose="020B0609020204030204" pitchFamily="49" charset="0"/>
              </a:rPr>
              <a:t> objtype</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p:txBody>
      </p:sp>
      <p:pic>
        <p:nvPicPr>
          <p:cNvPr id="4" name="Picture 3">
            <a:extLst>
              <a:ext uri="{FF2B5EF4-FFF2-40B4-BE49-F238E27FC236}">
                <a16:creationId xmlns:a16="http://schemas.microsoft.com/office/drawing/2014/main" id="{5A443D6D-629C-44F9-B99E-C243CEF49901}"/>
              </a:ext>
            </a:extLst>
          </p:cNvPr>
          <p:cNvPicPr>
            <a:picLocks noChangeAspect="1"/>
          </p:cNvPicPr>
          <p:nvPr/>
        </p:nvPicPr>
        <p:blipFill>
          <a:blip r:embed="rId8"/>
          <a:stretch>
            <a:fillRect/>
          </a:stretch>
        </p:blipFill>
        <p:spPr>
          <a:xfrm>
            <a:off x="2299738" y="4582953"/>
            <a:ext cx="7525800" cy="1533739"/>
          </a:xfrm>
          <a:prstGeom prst="rect">
            <a:avLst/>
          </a:prstGeom>
          <a:ln>
            <a:solidFill>
              <a:schemeClr val="tx1"/>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B0E341EA-D4E6-4053-8323-3834AD9A6B5E}"/>
              </a:ext>
            </a:extLst>
          </p:cNvPr>
          <p:cNvSpPr txBox="1"/>
          <p:nvPr/>
        </p:nvSpPr>
        <p:spPr>
          <a:xfrm>
            <a:off x="3330324" y="4940882"/>
            <a:ext cx="5464628" cy="861774"/>
          </a:xfrm>
          <a:prstGeom prst="rect">
            <a:avLst/>
          </a:prstGeom>
          <a:solidFill>
            <a:schemeClr val="bg1"/>
          </a:solidFill>
          <a:ln>
            <a:solidFill>
              <a:schemeClr val="accent1"/>
            </a:solidFill>
          </a:ln>
        </p:spPr>
        <p:txBody>
          <a:bodyPr wrap="square" lIns="0" tIns="0" rIns="0" bIns="0" rtlCol="0">
            <a:spAutoFit/>
          </a:bodyPr>
          <a:lstStyle/>
          <a:p>
            <a:r>
              <a:rPr lang="en-US" sz="1400" dirty="0">
                <a:solidFill>
                  <a:srgbClr val="0000FF"/>
                </a:solidFill>
                <a:latin typeface="Consolas" panose="020B0609020204030204" pitchFamily="49" charset="0"/>
              </a:rPr>
              <a:t>EXEC</a:t>
            </a:r>
            <a:r>
              <a:rPr lang="en-US" sz="1400" dirty="0">
                <a:solidFill>
                  <a:srgbClr val="000000"/>
                </a:solidFill>
                <a:latin typeface="Consolas" panose="020B0609020204030204" pitchFamily="49" charset="0"/>
              </a:rPr>
              <a:t> </a:t>
            </a:r>
            <a:r>
              <a:rPr lang="en-US" sz="1400" dirty="0">
                <a:solidFill>
                  <a:srgbClr val="800000"/>
                </a:solidFill>
                <a:latin typeface="Consolas" panose="020B0609020204030204" pitchFamily="49" charset="0"/>
              </a:rPr>
              <a:t>sp_configure</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optimize for ad hoc workloa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GO</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RECONFIGURE</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GO</a:t>
            </a:r>
            <a:endParaRPr lang="en-US" sz="1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12679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grpId="1"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2BC49-766F-4BD9-9B58-AD8976B58BE7}"/>
              </a:ext>
            </a:extLst>
          </p:cNvPr>
          <p:cNvSpPr>
            <a:spLocks noGrp="1"/>
          </p:cNvSpPr>
          <p:nvPr>
            <p:ph type="title"/>
          </p:nvPr>
        </p:nvSpPr>
        <p:spPr>
          <a:xfrm>
            <a:off x="655638" y="320040"/>
            <a:ext cx="10880725" cy="923330"/>
          </a:xfrm>
        </p:spPr>
        <p:txBody>
          <a:bodyPr/>
          <a:lstStyle/>
          <a:p>
            <a:r>
              <a:rPr lang="en-US" dirty="0"/>
              <a:t>Clearing the Plan Cache</a:t>
            </a:r>
            <a:br>
              <a:rPr lang="en-US" dirty="0"/>
            </a:br>
            <a:endParaRPr lang="en-US" dirty="0"/>
          </a:p>
        </p:txBody>
      </p:sp>
      <p:sp>
        <p:nvSpPr>
          <p:cNvPr id="3" name="Subtitle 2">
            <a:extLst>
              <a:ext uri="{FF2B5EF4-FFF2-40B4-BE49-F238E27FC236}">
                <a16:creationId xmlns:a16="http://schemas.microsoft.com/office/drawing/2014/main" id="{08A51829-F6E4-4F66-8858-C116FB6E2495}"/>
              </a:ext>
            </a:extLst>
          </p:cNvPr>
          <p:cNvSpPr>
            <a:spLocks noGrp="1"/>
          </p:cNvSpPr>
          <p:nvPr>
            <p:ph type="subTitle" idx="1"/>
          </p:nvPr>
        </p:nvSpPr>
        <p:spPr/>
        <p:txBody>
          <a:bodyPr/>
          <a:lstStyle/>
          <a:p>
            <a:r>
              <a:rPr lang="en-US" dirty="0"/>
              <a:t>Not always the best option!</a:t>
            </a:r>
          </a:p>
        </p:txBody>
      </p:sp>
      <p:graphicFrame>
        <p:nvGraphicFramePr>
          <p:cNvPr id="6" name="Content Placeholder 5">
            <a:extLst>
              <a:ext uri="{FF2B5EF4-FFF2-40B4-BE49-F238E27FC236}">
                <a16:creationId xmlns:a16="http://schemas.microsoft.com/office/drawing/2014/main" id="{051A79A1-377C-4C7A-B151-25C9B3668E35}"/>
              </a:ext>
            </a:extLst>
          </p:cNvPr>
          <p:cNvGraphicFramePr>
            <a:graphicFrameLocks noGrp="1"/>
          </p:cNvGraphicFramePr>
          <p:nvPr>
            <p:ph sz="quarter" idx="13"/>
            <p:extLst>
              <p:ext uri="{D42A27DB-BD31-4B8C-83A1-F6EECF244321}">
                <p14:modId xmlns:p14="http://schemas.microsoft.com/office/powerpoint/2010/main" val="2939646560"/>
              </p:ext>
            </p:extLst>
          </p:nvPr>
        </p:nvGraphicFramePr>
        <p:xfrm>
          <a:off x="655638" y="1408114"/>
          <a:ext cx="10880726" cy="4230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4DBCC87-0934-4428-A760-FFE7B380E938}"/>
              </a:ext>
            </a:extLst>
          </p:cNvPr>
          <p:cNvSpPr txBox="1"/>
          <p:nvPr/>
        </p:nvSpPr>
        <p:spPr>
          <a:xfrm>
            <a:off x="2133600" y="6019800"/>
            <a:ext cx="7086600" cy="307777"/>
          </a:xfrm>
          <a:prstGeom prst="rect">
            <a:avLst/>
          </a:prstGeom>
          <a:noFill/>
        </p:spPr>
        <p:txBody>
          <a:bodyPr wrap="square" lIns="0" tIns="0" rIns="0" bIns="0" rtlCol="0">
            <a:spAutoFit/>
          </a:bodyPr>
          <a:lstStyle/>
          <a:p>
            <a:pPr algn="ctr"/>
            <a:r>
              <a:rPr lang="en-US" sz="2000" dirty="0">
                <a:solidFill>
                  <a:schemeClr val="accent3"/>
                </a:solidFill>
              </a:rPr>
              <a:t>Performance impact as new plans are compiled</a:t>
            </a:r>
          </a:p>
        </p:txBody>
      </p:sp>
    </p:spTree>
    <p:extLst>
      <p:ext uri="{BB962C8B-B14F-4D97-AF65-F5344CB8AC3E}">
        <p14:creationId xmlns:p14="http://schemas.microsoft.com/office/powerpoint/2010/main" val="41570093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2BC49-766F-4BD9-9B58-AD8976B58BE7}"/>
              </a:ext>
            </a:extLst>
          </p:cNvPr>
          <p:cNvSpPr>
            <a:spLocks noGrp="1"/>
          </p:cNvSpPr>
          <p:nvPr>
            <p:ph type="title"/>
          </p:nvPr>
        </p:nvSpPr>
        <p:spPr>
          <a:xfrm>
            <a:off x="655638" y="320040"/>
            <a:ext cx="10880725" cy="923330"/>
          </a:xfrm>
        </p:spPr>
        <p:txBody>
          <a:bodyPr/>
          <a:lstStyle/>
          <a:p>
            <a:r>
              <a:rPr lang="en-US" dirty="0"/>
              <a:t>Clearing the Plan Cache</a:t>
            </a:r>
            <a:br>
              <a:rPr lang="en-US" dirty="0"/>
            </a:br>
            <a:endParaRPr lang="en-US" dirty="0"/>
          </a:p>
        </p:txBody>
      </p:sp>
      <p:sp>
        <p:nvSpPr>
          <p:cNvPr id="3" name="Subtitle 2">
            <a:extLst>
              <a:ext uri="{FF2B5EF4-FFF2-40B4-BE49-F238E27FC236}">
                <a16:creationId xmlns:a16="http://schemas.microsoft.com/office/drawing/2014/main" id="{08A51829-F6E4-4F66-8858-C116FB6E2495}"/>
              </a:ext>
            </a:extLst>
          </p:cNvPr>
          <p:cNvSpPr>
            <a:spLocks noGrp="1"/>
          </p:cNvSpPr>
          <p:nvPr>
            <p:ph type="subTitle" idx="1"/>
          </p:nvPr>
        </p:nvSpPr>
        <p:spPr/>
        <p:txBody>
          <a:bodyPr/>
          <a:lstStyle/>
          <a:p>
            <a:r>
              <a:rPr lang="en-US" dirty="0"/>
              <a:t>Not your first option!</a:t>
            </a:r>
          </a:p>
        </p:txBody>
      </p:sp>
      <p:graphicFrame>
        <p:nvGraphicFramePr>
          <p:cNvPr id="6" name="Content Placeholder 5">
            <a:extLst>
              <a:ext uri="{FF2B5EF4-FFF2-40B4-BE49-F238E27FC236}">
                <a16:creationId xmlns:a16="http://schemas.microsoft.com/office/drawing/2014/main" id="{051A79A1-377C-4C7A-B151-25C9B3668E35}"/>
              </a:ext>
            </a:extLst>
          </p:cNvPr>
          <p:cNvGraphicFramePr>
            <a:graphicFrameLocks noGrp="1"/>
          </p:cNvGraphicFramePr>
          <p:nvPr>
            <p:ph sz="quarter" idx="13"/>
            <p:extLst>
              <p:ext uri="{D42A27DB-BD31-4B8C-83A1-F6EECF244321}">
                <p14:modId xmlns:p14="http://schemas.microsoft.com/office/powerpoint/2010/main" val="591408473"/>
              </p:ext>
            </p:extLst>
          </p:nvPr>
        </p:nvGraphicFramePr>
        <p:xfrm>
          <a:off x="655638" y="1408114"/>
          <a:ext cx="10880726" cy="4230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4DBCC87-0934-4428-A760-FFE7B380E938}"/>
              </a:ext>
            </a:extLst>
          </p:cNvPr>
          <p:cNvSpPr txBox="1"/>
          <p:nvPr/>
        </p:nvSpPr>
        <p:spPr>
          <a:xfrm>
            <a:off x="2133600" y="6019800"/>
            <a:ext cx="7086600" cy="307777"/>
          </a:xfrm>
          <a:prstGeom prst="rect">
            <a:avLst/>
          </a:prstGeom>
          <a:noFill/>
        </p:spPr>
        <p:txBody>
          <a:bodyPr wrap="square" lIns="0" tIns="0" rIns="0" bIns="0" rtlCol="0">
            <a:spAutoFit/>
          </a:bodyPr>
          <a:lstStyle/>
          <a:p>
            <a:pPr algn="ctr"/>
            <a:r>
              <a:rPr lang="en-US" sz="2000" dirty="0">
                <a:solidFill>
                  <a:schemeClr val="accent3"/>
                </a:solidFill>
              </a:rPr>
              <a:t>Performance impact as new plans are compiled</a:t>
            </a:r>
          </a:p>
        </p:txBody>
      </p:sp>
      <p:pic>
        <p:nvPicPr>
          <p:cNvPr id="13" name="Picture 12">
            <a:extLst>
              <a:ext uri="{FF2B5EF4-FFF2-40B4-BE49-F238E27FC236}">
                <a16:creationId xmlns:a16="http://schemas.microsoft.com/office/drawing/2014/main" id="{F1D86874-F8F6-4823-9AC3-317E43B2F78E}"/>
              </a:ext>
            </a:extLst>
          </p:cNvPr>
          <p:cNvPicPr>
            <a:picLocks noChangeAspect="1"/>
          </p:cNvPicPr>
          <p:nvPr/>
        </p:nvPicPr>
        <p:blipFill>
          <a:blip r:embed="rId8"/>
          <a:stretch>
            <a:fillRect/>
          </a:stretch>
        </p:blipFill>
        <p:spPr>
          <a:xfrm>
            <a:off x="712384" y="1291685"/>
            <a:ext cx="11336332" cy="5258534"/>
          </a:xfrm>
          <a:prstGeom prst="rect">
            <a:avLst/>
          </a:prstGeom>
        </p:spPr>
      </p:pic>
      <p:pic>
        <p:nvPicPr>
          <p:cNvPr id="9" name="Picture 8">
            <a:extLst>
              <a:ext uri="{FF2B5EF4-FFF2-40B4-BE49-F238E27FC236}">
                <a16:creationId xmlns:a16="http://schemas.microsoft.com/office/drawing/2014/main" id="{4BB503AD-583B-4733-93A8-E3CD01E814D0}"/>
              </a:ext>
            </a:extLst>
          </p:cNvPr>
          <p:cNvPicPr>
            <a:picLocks noChangeAspect="1"/>
          </p:cNvPicPr>
          <p:nvPr/>
        </p:nvPicPr>
        <p:blipFill>
          <a:blip r:embed="rId9"/>
          <a:stretch>
            <a:fillRect/>
          </a:stretch>
        </p:blipFill>
        <p:spPr>
          <a:xfrm>
            <a:off x="617122" y="1291685"/>
            <a:ext cx="8773749" cy="4991797"/>
          </a:xfrm>
          <a:prstGeom prst="rect">
            <a:avLst/>
          </a:prstGeom>
        </p:spPr>
      </p:pic>
      <p:pic>
        <p:nvPicPr>
          <p:cNvPr id="10" name="Picture 9">
            <a:extLst>
              <a:ext uri="{FF2B5EF4-FFF2-40B4-BE49-F238E27FC236}">
                <a16:creationId xmlns:a16="http://schemas.microsoft.com/office/drawing/2014/main" id="{357188B9-A1B1-4144-AD87-829ED89D47FB}"/>
              </a:ext>
            </a:extLst>
          </p:cNvPr>
          <p:cNvPicPr>
            <a:picLocks noChangeAspect="1"/>
          </p:cNvPicPr>
          <p:nvPr/>
        </p:nvPicPr>
        <p:blipFill rotWithShape="1">
          <a:blip r:embed="rId10"/>
          <a:srcRect b="24726"/>
          <a:stretch/>
        </p:blipFill>
        <p:spPr>
          <a:xfrm>
            <a:off x="721911" y="1282481"/>
            <a:ext cx="11317279" cy="4539132"/>
          </a:xfrm>
          <a:prstGeom prst="rect">
            <a:avLst/>
          </a:prstGeom>
        </p:spPr>
      </p:pic>
      <p:pic>
        <p:nvPicPr>
          <p:cNvPr id="11" name="Picture 10">
            <a:extLst>
              <a:ext uri="{FF2B5EF4-FFF2-40B4-BE49-F238E27FC236}">
                <a16:creationId xmlns:a16="http://schemas.microsoft.com/office/drawing/2014/main" id="{8470BF62-8AEC-4B10-9047-CD3B1FCA20FB}"/>
              </a:ext>
            </a:extLst>
          </p:cNvPr>
          <p:cNvPicPr>
            <a:picLocks noChangeAspect="1"/>
          </p:cNvPicPr>
          <p:nvPr/>
        </p:nvPicPr>
        <p:blipFill>
          <a:blip r:embed="rId11"/>
          <a:stretch>
            <a:fillRect/>
          </a:stretch>
        </p:blipFill>
        <p:spPr>
          <a:xfrm>
            <a:off x="655227" y="1291685"/>
            <a:ext cx="11345858" cy="4124901"/>
          </a:xfrm>
          <a:prstGeom prst="rect">
            <a:avLst/>
          </a:prstGeom>
        </p:spPr>
      </p:pic>
      <p:pic>
        <p:nvPicPr>
          <p:cNvPr id="12" name="Picture 11">
            <a:extLst>
              <a:ext uri="{FF2B5EF4-FFF2-40B4-BE49-F238E27FC236}">
                <a16:creationId xmlns:a16="http://schemas.microsoft.com/office/drawing/2014/main" id="{16ED6B3F-2F5E-4E48-9074-FDEA740AB14B}"/>
              </a:ext>
            </a:extLst>
          </p:cNvPr>
          <p:cNvPicPr>
            <a:picLocks noChangeAspect="1"/>
          </p:cNvPicPr>
          <p:nvPr/>
        </p:nvPicPr>
        <p:blipFill>
          <a:blip r:embed="rId12"/>
          <a:stretch>
            <a:fillRect/>
          </a:stretch>
        </p:blipFill>
        <p:spPr>
          <a:xfrm>
            <a:off x="579017" y="1287007"/>
            <a:ext cx="11269648" cy="4925112"/>
          </a:xfrm>
          <a:prstGeom prst="rect">
            <a:avLst/>
          </a:prstGeom>
        </p:spPr>
      </p:pic>
    </p:spTree>
    <p:extLst>
      <p:ext uri="{BB962C8B-B14F-4D97-AF65-F5344CB8AC3E}">
        <p14:creationId xmlns:p14="http://schemas.microsoft.com/office/powerpoint/2010/main" val="89027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3"/>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1"/>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2"/>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lan Reuse</a:t>
            </a:r>
          </a:p>
        </p:txBody>
      </p:sp>
      <p:graphicFrame>
        <p:nvGraphicFramePr>
          <p:cNvPr id="6" name="Content Placeholder 5">
            <a:extLst>
              <a:ext uri="{FF2B5EF4-FFF2-40B4-BE49-F238E27FC236}">
                <a16:creationId xmlns:a16="http://schemas.microsoft.com/office/drawing/2014/main" id="{2217EB35-CC23-4C14-A610-AB5118F33063}"/>
              </a:ext>
            </a:extLst>
          </p:cNvPr>
          <p:cNvGraphicFramePr>
            <a:graphicFrameLocks noGrp="1"/>
          </p:cNvGraphicFramePr>
          <p:nvPr>
            <p:ph sz="quarter" idx="13"/>
            <p:extLst>
              <p:ext uri="{D42A27DB-BD31-4B8C-83A1-F6EECF244321}">
                <p14:modId xmlns:p14="http://schemas.microsoft.com/office/powerpoint/2010/main" val="2356605454"/>
              </p:ext>
            </p:extLst>
          </p:nvPr>
        </p:nvGraphicFramePr>
        <p:xfrm>
          <a:off x="655638" y="1169581"/>
          <a:ext cx="10880726" cy="29452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D5971169-0E16-4CF3-AC99-B2B168A60E27}"/>
              </a:ext>
            </a:extLst>
          </p:cNvPr>
          <p:cNvSpPr/>
          <p:nvPr/>
        </p:nvSpPr>
        <p:spPr>
          <a:xfrm>
            <a:off x="2819399" y="4434223"/>
            <a:ext cx="6553200" cy="2031325"/>
          </a:xfrm>
          <a:prstGeom prst="rect">
            <a:avLst/>
          </a:prstGeom>
          <a:ln>
            <a:solidFill>
              <a:schemeClr val="accent1"/>
            </a:solidFill>
          </a:ln>
        </p:spPr>
        <p:txBody>
          <a:bodyPr wrap="square">
            <a:spAutoFit/>
          </a:bodyPr>
          <a:lstStyle/>
          <a:p>
            <a:r>
              <a:rPr lang="en-US" sz="1400" dirty="0">
                <a:solidFill>
                  <a:srgbClr val="008000"/>
                </a:solidFill>
                <a:latin typeface="Consolas" panose="020B0609020204030204" pitchFamily="49" charset="0"/>
              </a:rPr>
              <a:t>-- Small changes in case or white space yield differing hashes</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HASHBYTES</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MD5'</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SELECT * FROM Person.Person'</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UNIO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LL</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HASHBYTES</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MD5'</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SELECT * FROM </a:t>
            </a:r>
            <a:r>
              <a:rPr lang="en-US" sz="1400" dirty="0">
                <a:solidFill>
                  <a:srgbClr val="FF0000"/>
                </a:solidFill>
                <a:highlight>
                  <a:srgbClr val="00FF00"/>
                </a:highlight>
                <a:latin typeface="Consolas" panose="020B0609020204030204" pitchFamily="49" charset="0"/>
              </a:rPr>
              <a:t>p</a:t>
            </a:r>
            <a:r>
              <a:rPr lang="en-US" sz="1400" dirty="0">
                <a:solidFill>
                  <a:srgbClr val="FF0000"/>
                </a:solidFill>
                <a:latin typeface="Consolas" panose="020B0609020204030204" pitchFamily="49" charset="0"/>
              </a:rPr>
              <a:t>erson.Person'</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UNIO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LL</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HASHBYTES</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MD5'</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SELECT * </a:t>
            </a:r>
            <a:r>
              <a:rPr lang="en-US" sz="1400" dirty="0">
                <a:solidFill>
                  <a:srgbClr val="FF0000"/>
                </a:solidFill>
                <a:highlight>
                  <a:srgbClr val="00FF00"/>
                </a:highlight>
                <a:latin typeface="Consolas" panose="020B0609020204030204" pitchFamily="49" charset="0"/>
              </a:rPr>
              <a:t>  </a:t>
            </a:r>
            <a:r>
              <a:rPr lang="en-US" sz="1400" dirty="0">
                <a:solidFill>
                  <a:srgbClr val="FF0000"/>
                </a:solidFill>
                <a:latin typeface="Consolas" panose="020B0609020204030204" pitchFamily="49" charset="0"/>
              </a:rPr>
              <a:t>FROM Person.Person'</a:t>
            </a:r>
            <a:r>
              <a:rPr lang="en-US" sz="1400" dirty="0">
                <a:solidFill>
                  <a:srgbClr val="808080"/>
                </a:solidFill>
                <a:latin typeface="Consolas" panose="020B0609020204030204" pitchFamily="49" charset="0"/>
              </a:rPr>
              <a:t>)</a:t>
            </a:r>
          </a:p>
          <a:p>
            <a:r>
              <a:rPr lang="en-US" sz="1400" dirty="0">
                <a:solidFill>
                  <a:srgbClr val="008000"/>
                </a:solidFill>
                <a:latin typeface="Consolas" panose="020B0609020204030204" pitchFamily="49" charset="0"/>
              </a:rPr>
              <a:t>/*</a:t>
            </a:r>
            <a:endParaRPr lang="en-US" sz="1400" dirty="0">
              <a:solidFill>
                <a:srgbClr val="000000"/>
              </a:solidFill>
              <a:latin typeface="Consolas" panose="020B0609020204030204" pitchFamily="49" charset="0"/>
            </a:endParaRPr>
          </a:p>
          <a:p>
            <a:pPr lvl="1"/>
            <a:r>
              <a:rPr lang="en-US" sz="1400" dirty="0">
                <a:solidFill>
                  <a:srgbClr val="008000"/>
                </a:solidFill>
                <a:latin typeface="Consolas" panose="020B0609020204030204" pitchFamily="49" charset="0"/>
              </a:rPr>
              <a:t>0xF2D4F28DA93156A5BB487B019F1F0191</a:t>
            </a:r>
            <a:endParaRPr lang="en-US" sz="1400" dirty="0">
              <a:solidFill>
                <a:srgbClr val="000000"/>
              </a:solidFill>
              <a:latin typeface="Consolas" panose="020B0609020204030204" pitchFamily="49" charset="0"/>
            </a:endParaRPr>
          </a:p>
          <a:p>
            <a:pPr lvl="1"/>
            <a:r>
              <a:rPr lang="en-US" sz="1400" dirty="0">
                <a:solidFill>
                  <a:srgbClr val="008000"/>
                </a:solidFill>
                <a:latin typeface="Consolas" panose="020B0609020204030204" pitchFamily="49" charset="0"/>
              </a:rPr>
              <a:t>0x76F700BB3DC09FF482E1E4A77C7392E8</a:t>
            </a:r>
            <a:endParaRPr lang="en-US" sz="1400" dirty="0">
              <a:solidFill>
                <a:srgbClr val="000000"/>
              </a:solidFill>
              <a:latin typeface="Consolas" panose="020B0609020204030204" pitchFamily="49" charset="0"/>
            </a:endParaRPr>
          </a:p>
          <a:p>
            <a:pPr lvl="1"/>
            <a:r>
              <a:rPr lang="en-US" sz="1400" dirty="0">
                <a:solidFill>
                  <a:srgbClr val="008000"/>
                </a:solidFill>
                <a:latin typeface="Consolas" panose="020B0609020204030204" pitchFamily="49" charset="0"/>
              </a:rPr>
              <a:t>0xB1D875A858F4D410D9E866C40E523683</a:t>
            </a:r>
            <a:endParaRPr lang="en-US" sz="1400" dirty="0">
              <a:solidFill>
                <a:srgbClr val="000000"/>
              </a:solidFill>
              <a:latin typeface="Consolas" panose="020B0609020204030204" pitchFamily="49" charset="0"/>
            </a:endParaRPr>
          </a:p>
          <a:p>
            <a:r>
              <a:rPr lang="en-US" sz="1400" dirty="0">
                <a:solidFill>
                  <a:srgbClr val="008000"/>
                </a:solidFill>
                <a:latin typeface="Consolas" panose="020B0609020204030204" pitchFamily="49" charset="0"/>
              </a:rPr>
              <a:t>*/</a:t>
            </a:r>
            <a:endParaRPr lang="en-US" sz="14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3877797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lan Reuse</a:t>
            </a:r>
          </a:p>
        </p:txBody>
      </p:sp>
      <p:graphicFrame>
        <p:nvGraphicFramePr>
          <p:cNvPr id="5" name="Content Placeholder 4">
            <a:extLst>
              <a:ext uri="{FF2B5EF4-FFF2-40B4-BE49-F238E27FC236}">
                <a16:creationId xmlns:a16="http://schemas.microsoft.com/office/drawing/2014/main" id="{44B17301-66B9-46C5-B710-C2BFBFF70B60}"/>
              </a:ext>
            </a:extLst>
          </p:cNvPr>
          <p:cNvGraphicFramePr>
            <a:graphicFrameLocks noGrp="1"/>
          </p:cNvGraphicFramePr>
          <p:nvPr>
            <p:ph sz="quarter" idx="13"/>
            <p:extLst>
              <p:ext uri="{D42A27DB-BD31-4B8C-83A1-F6EECF244321}">
                <p14:modId xmlns:p14="http://schemas.microsoft.com/office/powerpoint/2010/main" val="3238325335"/>
              </p:ext>
            </p:extLst>
          </p:nvPr>
        </p:nvGraphicFramePr>
        <p:xfrm>
          <a:off x="609600" y="1408115"/>
          <a:ext cx="10880726" cy="2020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Content Placeholder 4">
            <a:extLst>
              <a:ext uri="{FF2B5EF4-FFF2-40B4-BE49-F238E27FC236}">
                <a16:creationId xmlns:a16="http://schemas.microsoft.com/office/drawing/2014/main" id="{403E7EC3-3214-4E4B-8924-AB1CB1A79B74}"/>
              </a:ext>
            </a:extLst>
          </p:cNvPr>
          <p:cNvGraphicFramePr>
            <a:graphicFrameLocks/>
          </p:cNvGraphicFramePr>
          <p:nvPr>
            <p:extLst>
              <p:ext uri="{D42A27DB-BD31-4B8C-83A1-F6EECF244321}">
                <p14:modId xmlns:p14="http://schemas.microsoft.com/office/powerpoint/2010/main" val="901403190"/>
              </p:ext>
            </p:extLst>
          </p:nvPr>
        </p:nvGraphicFramePr>
        <p:xfrm>
          <a:off x="609600" y="3589069"/>
          <a:ext cx="10880726" cy="32689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9989963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wrap="square" anchor="t">
            <a:normAutofit/>
          </a:bodyPr>
          <a:lstStyle/>
          <a:p>
            <a:r>
              <a:rPr lang="en-AU" dirty="0"/>
              <a:t>Parameter Sniffing</a:t>
            </a:r>
            <a:endParaRPr lang="en-US" dirty="0"/>
          </a:p>
        </p:txBody>
      </p:sp>
      <p:pic>
        <p:nvPicPr>
          <p:cNvPr id="6" name="Picture 5">
            <a:extLst>
              <a:ext uri="{FF2B5EF4-FFF2-40B4-BE49-F238E27FC236}">
                <a16:creationId xmlns:a16="http://schemas.microsoft.com/office/drawing/2014/main" id="{E0234831-8521-49FC-8DBF-035ADF7F9610}"/>
              </a:ext>
            </a:extLst>
          </p:cNvPr>
          <p:cNvPicPr>
            <a:picLocks noChangeAspect="1"/>
          </p:cNvPicPr>
          <p:nvPr/>
        </p:nvPicPr>
        <p:blipFill>
          <a:blip r:embed="rId3"/>
          <a:stretch>
            <a:fillRect/>
          </a:stretch>
        </p:blipFill>
        <p:spPr>
          <a:xfrm>
            <a:off x="1505857" y="1408113"/>
            <a:ext cx="9180287" cy="481965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272879874"/>
      </p:ext>
    </p:extLst>
  </p:cSld>
  <p:clrMapOvr>
    <a:masterClrMapping/>
  </p:clrMapOvr>
  <p:transition advTm="210110">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637" y="3519695"/>
            <a:ext cx="4581698" cy="2643188"/>
          </a:xfrm>
        </p:spPr>
        <p:txBody>
          <a:bodyPr/>
          <a:lstStyle/>
          <a:p>
            <a:r>
              <a:rPr lang="en-US" b="1" dirty="0"/>
              <a:t>Caching and Parameter sniffing</a:t>
            </a:r>
          </a:p>
          <a:p>
            <a:pPr marL="342900" indent="-342900">
              <a:buFont typeface="Arial" panose="020B0604020202020204" pitchFamily="34" charset="0"/>
              <a:buChar char="•"/>
            </a:pPr>
            <a:r>
              <a:rPr lang="en-US" sz="2000" dirty="0"/>
              <a:t>Caching and reuse of </a:t>
            </a:r>
            <a:r>
              <a:rPr lang="en-US" sz="2000" i="1" dirty="0"/>
              <a:t>ad hoc </a:t>
            </a:r>
            <a:r>
              <a:rPr lang="en-US" sz="2000" dirty="0"/>
              <a:t>vs. stored procedure query plans</a:t>
            </a:r>
          </a:p>
          <a:p>
            <a:pPr marL="342900" indent="-342900">
              <a:buFont typeface="Arial" panose="020B0604020202020204" pitchFamily="34" charset="0"/>
              <a:buChar char="•"/>
            </a:pPr>
            <a:r>
              <a:rPr lang="en-US" sz="2000" dirty="0"/>
              <a:t>Parameter sniffing</a:t>
            </a:r>
          </a:p>
          <a:p>
            <a:pPr marL="342900" indent="-342900">
              <a:buFont typeface="Arial" panose="020B0604020202020204" pitchFamily="34" charset="0"/>
              <a:buChar char="•"/>
            </a:pPr>
            <a:r>
              <a:rPr lang="en-US" sz="2000" dirty="0"/>
              <a:t>Querying the plan cach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81178159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Query Store </a:t>
            </a:r>
          </a:p>
        </p:txBody>
      </p:sp>
    </p:spTree>
    <p:extLst>
      <p:ext uri="{BB962C8B-B14F-4D97-AF65-F5344CB8AC3E}">
        <p14:creationId xmlns:p14="http://schemas.microsoft.com/office/powerpoint/2010/main" val="289400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70529796-8FCE-4C02-79E5-814C66F8B6BD}"/>
              </a:ext>
            </a:extLst>
          </p:cNvPr>
          <p:cNvGraphicFramePr/>
          <p:nvPr>
            <p:extLst>
              <p:ext uri="{D42A27DB-BD31-4B8C-83A1-F6EECF244321}">
                <p14:modId xmlns:p14="http://schemas.microsoft.com/office/powerpoint/2010/main" val="2495813037"/>
              </p:ext>
            </p:extLst>
          </p:nvPr>
        </p:nvGraphicFramePr>
        <p:xfrm>
          <a:off x="6179129" y="1125128"/>
          <a:ext cx="5826760" cy="5161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a:extLst>
              <a:ext uri="{FF2B5EF4-FFF2-40B4-BE49-F238E27FC236}">
                <a16:creationId xmlns:a16="http://schemas.microsoft.com/office/drawing/2014/main" id="{04CC0578-8DF5-4384-BF5E-EA8B9516C52E}"/>
              </a:ext>
            </a:extLst>
          </p:cNvPr>
          <p:cNvSpPr>
            <a:spLocks noGrp="1"/>
          </p:cNvSpPr>
          <p:nvPr>
            <p:ph type="title"/>
          </p:nvPr>
        </p:nvSpPr>
        <p:spPr>
          <a:xfrm>
            <a:off x="269238" y="174885"/>
            <a:ext cx="10972800" cy="461665"/>
          </a:xfrm>
        </p:spPr>
        <p:txBody>
          <a:bodyPr/>
          <a:lstStyle/>
          <a:p>
            <a:r>
              <a:rPr lang="en-US" sz="3200" dirty="0"/>
              <a:t>Introducing the Query Store</a:t>
            </a:r>
          </a:p>
        </p:txBody>
      </p:sp>
      <p:pic>
        <p:nvPicPr>
          <p:cNvPr id="7" name="Picture 6" descr="A screenshot of a cell phone&#10;&#10;Description automatically generated">
            <a:extLst>
              <a:ext uri="{FF2B5EF4-FFF2-40B4-BE49-F238E27FC236}">
                <a16:creationId xmlns:a16="http://schemas.microsoft.com/office/drawing/2014/main" id="{D4718533-9C51-4AD3-81C0-3008AC8ABF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7127" y="1007642"/>
            <a:ext cx="5545558" cy="5064389"/>
          </a:xfrm>
          <a:prstGeom prst="snip2DiagRect">
            <a:avLst/>
          </a:prstGeom>
          <a:solidFill>
            <a:srgbClr val="FFFFFF">
              <a:shade val="85000"/>
            </a:srgbClr>
          </a:solidFill>
          <a:ln w="88900" cap="sq">
            <a:solidFill>
              <a:srgbClr val="FFFFFF"/>
            </a:solidFill>
            <a:miter lim="800000"/>
          </a:ln>
          <a:effectLst>
            <a:outerShdw blurRad="50800" dist="38100" dir="10800000" algn="r" rotWithShape="0">
              <a:prstClr val="black">
                <a:alpha val="40000"/>
              </a:prst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410208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EA56CE9E-CED6-482C-B429-412AE104EF8C}"/>
              </a:ext>
            </a:extLst>
          </p:cNvPr>
          <p:cNvGraphicFramePr/>
          <p:nvPr>
            <p:extLst>
              <p:ext uri="{D42A27DB-BD31-4B8C-83A1-F6EECF244321}">
                <p14:modId xmlns:p14="http://schemas.microsoft.com/office/powerpoint/2010/main" val="2959756448"/>
              </p:ext>
            </p:extLst>
          </p:nvPr>
        </p:nvGraphicFramePr>
        <p:xfrm>
          <a:off x="535529" y="905164"/>
          <a:ext cx="11199271" cy="53899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Why use Query Store?</a:t>
            </a:r>
          </a:p>
        </p:txBody>
      </p:sp>
    </p:spTree>
    <p:extLst>
      <p:ext uri="{BB962C8B-B14F-4D97-AF65-F5344CB8AC3E}">
        <p14:creationId xmlns:p14="http://schemas.microsoft.com/office/powerpoint/2010/main" val="8759610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81126" y="201797"/>
            <a:ext cx="10972800" cy="474041"/>
          </a:xfrm>
        </p:spPr>
        <p:txBody>
          <a:bodyPr/>
          <a:lstStyle/>
          <a:p>
            <a:r>
              <a:rPr lang="en-US" sz="3200" dirty="0"/>
              <a:t>Query</a:t>
            </a:r>
            <a:r>
              <a:rPr lang="en-US" dirty="0"/>
              <a:t> </a:t>
            </a:r>
            <a:r>
              <a:rPr lang="en-US" sz="3200" dirty="0"/>
              <a:t>Store</a:t>
            </a:r>
            <a:r>
              <a:rPr lang="en-US" dirty="0"/>
              <a:t> </a:t>
            </a:r>
            <a:r>
              <a:rPr lang="en-US" sz="3200" dirty="0"/>
              <a:t>Operation</a:t>
            </a:r>
            <a:r>
              <a:rPr lang="en-US" dirty="0"/>
              <a:t> </a:t>
            </a:r>
            <a:r>
              <a:rPr lang="en-US" sz="3200" dirty="0"/>
              <a:t>Modes</a:t>
            </a:r>
          </a:p>
        </p:txBody>
      </p:sp>
      <p:pic>
        <p:nvPicPr>
          <p:cNvPr id="6" name="Picture 5">
            <a:extLst>
              <a:ext uri="{FF2B5EF4-FFF2-40B4-BE49-F238E27FC236}">
                <a16:creationId xmlns:a16="http://schemas.microsoft.com/office/drawing/2014/main" id="{F1E8043F-9EB1-4FC2-8383-30CE67115D40}"/>
              </a:ext>
            </a:extLst>
          </p:cNvPr>
          <p:cNvPicPr>
            <a:picLocks noChangeAspect="1"/>
          </p:cNvPicPr>
          <p:nvPr/>
        </p:nvPicPr>
        <p:blipFill>
          <a:blip r:embed="rId2"/>
          <a:stretch>
            <a:fillRect/>
          </a:stretch>
        </p:blipFill>
        <p:spPr>
          <a:xfrm>
            <a:off x="505808" y="1777401"/>
            <a:ext cx="5752059" cy="1335299"/>
          </a:xfrm>
          <a:prstGeom prst="rect">
            <a:avLst/>
          </a:prstGeom>
        </p:spPr>
      </p:pic>
      <p:pic>
        <p:nvPicPr>
          <p:cNvPr id="7" name="Picture 6">
            <a:extLst>
              <a:ext uri="{FF2B5EF4-FFF2-40B4-BE49-F238E27FC236}">
                <a16:creationId xmlns:a16="http://schemas.microsoft.com/office/drawing/2014/main" id="{50306DDA-4A2A-4A00-A1EF-62257E44436E}"/>
              </a:ext>
            </a:extLst>
          </p:cNvPr>
          <p:cNvPicPr>
            <a:picLocks noChangeAspect="1"/>
          </p:cNvPicPr>
          <p:nvPr/>
        </p:nvPicPr>
        <p:blipFill>
          <a:blip r:embed="rId3"/>
          <a:stretch>
            <a:fillRect/>
          </a:stretch>
        </p:blipFill>
        <p:spPr>
          <a:xfrm>
            <a:off x="505808" y="4869637"/>
            <a:ext cx="7274114" cy="457550"/>
          </a:xfrm>
          <a:prstGeom prst="rect">
            <a:avLst/>
          </a:prstGeom>
        </p:spPr>
      </p:pic>
      <p:sp>
        <p:nvSpPr>
          <p:cNvPr id="8" name="Text Placeholder 4">
            <a:extLst>
              <a:ext uri="{FF2B5EF4-FFF2-40B4-BE49-F238E27FC236}">
                <a16:creationId xmlns:a16="http://schemas.microsoft.com/office/drawing/2014/main" id="{B0B18559-20C6-45CA-8BBF-D4DB5CD3F376}"/>
              </a:ext>
            </a:extLst>
          </p:cNvPr>
          <p:cNvSpPr txBox="1">
            <a:spLocks/>
          </p:cNvSpPr>
          <p:nvPr/>
        </p:nvSpPr>
        <p:spPr>
          <a:xfrm>
            <a:off x="368017" y="105525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1" i="0" u="none" strike="noStrike" kern="1200" cap="none" spc="0" normalizeH="0" baseline="0" noProof="0" dirty="0">
                <a:ln>
                  <a:noFill/>
                </a:ln>
                <a:solidFill>
                  <a:srgbClr val="000000"/>
                </a:solidFill>
                <a:effectLst/>
                <a:uLnTx/>
                <a:uFillTx/>
                <a:latin typeface="Segoe UI"/>
                <a:ea typeface="+mn-ea"/>
                <a:cs typeface="+mn-cs"/>
              </a:rPr>
              <a:t>Operation Mode </a:t>
            </a:r>
            <a:r>
              <a:rPr kumimoji="0" lang="en-US" sz="3529" b="0" i="0" u="none" strike="noStrike" kern="1200" cap="none" spc="0" normalizeH="0" baseline="0" noProof="0" dirty="0">
                <a:ln>
                  <a:noFill/>
                </a:ln>
                <a:solidFill>
                  <a:srgbClr val="000000"/>
                </a:solidFill>
                <a:effectLst/>
                <a:uLnTx/>
                <a:uFillTx/>
                <a:latin typeface="Segoe UI"/>
                <a:ea typeface="+mn-ea"/>
                <a:cs typeface="+mn-cs"/>
              </a:rPr>
              <a:t>can be set under database properties</a:t>
            </a:r>
          </a:p>
        </p:txBody>
      </p:sp>
      <p:sp>
        <p:nvSpPr>
          <p:cNvPr id="9" name="Text Placeholder 4">
            <a:extLst>
              <a:ext uri="{FF2B5EF4-FFF2-40B4-BE49-F238E27FC236}">
                <a16:creationId xmlns:a16="http://schemas.microsoft.com/office/drawing/2014/main" id="{A2836666-3BC2-4791-BDBF-0B05627B21E4}"/>
              </a:ext>
            </a:extLst>
          </p:cNvPr>
          <p:cNvSpPr txBox="1">
            <a:spLocks/>
          </p:cNvSpPr>
          <p:nvPr/>
        </p:nvSpPr>
        <p:spPr>
          <a:xfrm>
            <a:off x="368017" y="3289114"/>
            <a:ext cx="11651870" cy="109889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1" i="0" u="none" strike="noStrike" kern="1200" cap="none" spc="0" normalizeH="0" baseline="0" noProof="0" dirty="0">
                <a:ln>
                  <a:noFill/>
                </a:ln>
                <a:solidFill>
                  <a:srgbClr val="000000"/>
                </a:solidFill>
                <a:effectLst/>
                <a:uLnTx/>
                <a:uFillTx/>
                <a:latin typeface="Segoe UI"/>
                <a:ea typeface="+mn-ea"/>
                <a:cs typeface="+mn-cs"/>
              </a:rPr>
              <a:t>Operation Mode </a:t>
            </a:r>
            <a:r>
              <a:rPr kumimoji="0" lang="en-US" sz="3529" b="0" i="0" u="none" strike="noStrike" kern="1200" cap="none" spc="0" normalizeH="0" baseline="0" noProof="0" dirty="0">
                <a:ln>
                  <a:noFill/>
                </a:ln>
                <a:solidFill>
                  <a:srgbClr val="000000"/>
                </a:solidFill>
                <a:effectLst/>
                <a:uLnTx/>
                <a:uFillTx/>
                <a:latin typeface="Segoe UI"/>
                <a:ea typeface="+mn-ea"/>
                <a:cs typeface="+mn-cs"/>
              </a:rPr>
              <a:t>can be enabled two ways using T-SQL. If only using the ON option, the Mode defaults to </a:t>
            </a:r>
            <a:r>
              <a:rPr kumimoji="0" lang="en-US" sz="3529" b="1" i="0" u="none" strike="noStrike" kern="1200" cap="none" spc="0" normalizeH="0" baseline="0" noProof="0" dirty="0">
                <a:ln>
                  <a:noFill/>
                </a:ln>
                <a:solidFill>
                  <a:srgbClr val="000000"/>
                </a:solidFill>
                <a:effectLst/>
                <a:uLnTx/>
                <a:uFillTx/>
                <a:latin typeface="Segoe UI"/>
                <a:ea typeface="+mn-ea"/>
                <a:cs typeface="+mn-cs"/>
              </a:rPr>
              <a:t>Read_Write</a:t>
            </a:r>
          </a:p>
        </p:txBody>
      </p:sp>
      <p:pic>
        <p:nvPicPr>
          <p:cNvPr id="10" name="Picture 9">
            <a:extLst>
              <a:ext uri="{FF2B5EF4-FFF2-40B4-BE49-F238E27FC236}">
                <a16:creationId xmlns:a16="http://schemas.microsoft.com/office/drawing/2014/main" id="{529BE97B-295B-4057-B362-A5AEEE5D3A1A}"/>
              </a:ext>
            </a:extLst>
          </p:cNvPr>
          <p:cNvPicPr>
            <a:picLocks noChangeAspect="1"/>
          </p:cNvPicPr>
          <p:nvPr/>
        </p:nvPicPr>
        <p:blipFill>
          <a:blip r:embed="rId4"/>
          <a:stretch>
            <a:fillRect/>
          </a:stretch>
        </p:blipFill>
        <p:spPr>
          <a:xfrm>
            <a:off x="511112" y="5503601"/>
            <a:ext cx="6536431" cy="690994"/>
          </a:xfrm>
          <a:prstGeom prst="rect">
            <a:avLst/>
          </a:prstGeom>
        </p:spPr>
      </p:pic>
    </p:spTree>
    <p:extLst>
      <p:ext uri="{BB962C8B-B14F-4D97-AF65-F5344CB8AC3E}">
        <p14:creationId xmlns:p14="http://schemas.microsoft.com/office/powerpoint/2010/main" val="27982260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2"/>
            <a:ext cx="10972800" cy="474041"/>
          </a:xfrm>
        </p:spPr>
        <p:txBody>
          <a:bodyPr/>
          <a:lstStyle/>
          <a:p>
            <a:r>
              <a:rPr lang="en-US" sz="3200" dirty="0"/>
              <a:t>Query</a:t>
            </a:r>
            <a:r>
              <a:rPr lang="en-US" dirty="0"/>
              <a:t> </a:t>
            </a:r>
            <a:r>
              <a:rPr lang="en-US" sz="3200" dirty="0"/>
              <a:t>Store</a:t>
            </a:r>
            <a:r>
              <a:rPr lang="en-US" dirty="0"/>
              <a:t> </a:t>
            </a:r>
            <a:r>
              <a:rPr lang="en-US" sz="3200" dirty="0"/>
              <a:t>Monitoring</a:t>
            </a:r>
            <a:r>
              <a:rPr lang="en-US" dirty="0"/>
              <a:t> </a:t>
            </a:r>
            <a:r>
              <a:rPr lang="en-US" sz="3200" dirty="0"/>
              <a:t>Settings</a:t>
            </a:r>
          </a:p>
        </p:txBody>
      </p:sp>
      <p:sp>
        <p:nvSpPr>
          <p:cNvPr id="11" name="Text Placeholder 4">
            <a:extLst>
              <a:ext uri="{FF2B5EF4-FFF2-40B4-BE49-F238E27FC236}">
                <a16:creationId xmlns:a16="http://schemas.microsoft.com/office/drawing/2014/main" id="{ED72539F-D00E-4617-9502-AF0D3E71D95D}"/>
              </a:ext>
            </a:extLst>
          </p:cNvPr>
          <p:cNvSpPr txBox="1">
            <a:spLocks/>
          </p:cNvSpPr>
          <p:nvPr/>
        </p:nvSpPr>
        <p:spPr>
          <a:xfrm>
            <a:off x="419469" y="121713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Data Flush Interval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he frequency at which data written to the query store is persisted to disk.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15 Minutes</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745"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32C6CF17-4E69-49FB-B3E2-129EDFE0709C}"/>
              </a:ext>
            </a:extLst>
          </p:cNvPr>
          <p:cNvGrpSpPr/>
          <p:nvPr/>
        </p:nvGrpSpPr>
        <p:grpSpPr>
          <a:xfrm>
            <a:off x="2594855" y="3617454"/>
            <a:ext cx="7002289" cy="747371"/>
            <a:chOff x="2332037" y="3747968"/>
            <a:chExt cx="7142699" cy="762357"/>
          </a:xfrm>
        </p:grpSpPr>
        <p:pic>
          <p:nvPicPr>
            <p:cNvPr id="13" name="Picture 12">
              <a:extLst>
                <a:ext uri="{FF2B5EF4-FFF2-40B4-BE49-F238E27FC236}">
                  <a16:creationId xmlns:a16="http://schemas.microsoft.com/office/drawing/2014/main" id="{EC6FC48B-1F09-4AC8-B287-2D6E1E1654A0}"/>
                </a:ext>
              </a:extLst>
            </p:cNvPr>
            <p:cNvPicPr>
              <a:picLocks noChangeAspect="1"/>
            </p:cNvPicPr>
            <p:nvPr/>
          </p:nvPicPr>
          <p:blipFill>
            <a:blip r:embed="rId2"/>
            <a:stretch>
              <a:fillRect/>
            </a:stretch>
          </p:blipFill>
          <p:spPr>
            <a:xfrm>
              <a:off x="2332037" y="3747968"/>
              <a:ext cx="7142699" cy="762357"/>
            </a:xfrm>
            <a:prstGeom prst="rect">
              <a:avLst/>
            </a:prstGeom>
          </p:spPr>
        </p:pic>
        <p:sp>
          <p:nvSpPr>
            <p:cNvPr id="14" name="Rectangle 13">
              <a:extLst>
                <a:ext uri="{FF2B5EF4-FFF2-40B4-BE49-F238E27FC236}">
                  <a16:creationId xmlns:a16="http://schemas.microsoft.com/office/drawing/2014/main" id="{F4D13F47-F851-4CA8-B3A8-9F55A4A55DB8}"/>
                </a:ext>
              </a:extLst>
            </p:cNvPr>
            <p:cNvSpPr/>
            <p:nvPr/>
          </p:nvSpPr>
          <p:spPr bwMode="auto">
            <a:xfrm>
              <a:off x="2636837" y="3997569"/>
              <a:ext cx="6837899" cy="261693"/>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820C60B9-B32D-45BC-A3AC-EDE0D6E8D0DB}"/>
              </a:ext>
            </a:extLst>
          </p:cNvPr>
          <p:cNvGrpSpPr/>
          <p:nvPr/>
        </p:nvGrpSpPr>
        <p:grpSpPr>
          <a:xfrm>
            <a:off x="2785764" y="4609519"/>
            <a:ext cx="6620471" cy="1139207"/>
            <a:chOff x="2526773" y="4783788"/>
            <a:chExt cx="6753225" cy="1162050"/>
          </a:xfrm>
        </p:grpSpPr>
        <p:pic>
          <p:nvPicPr>
            <p:cNvPr id="16" name="Picture 15">
              <a:extLst>
                <a:ext uri="{FF2B5EF4-FFF2-40B4-BE49-F238E27FC236}">
                  <a16:creationId xmlns:a16="http://schemas.microsoft.com/office/drawing/2014/main" id="{4D9D0559-8E02-47AB-93DB-F80D9E330527}"/>
                </a:ext>
              </a:extLst>
            </p:cNvPr>
            <p:cNvPicPr>
              <a:picLocks noChangeAspect="1"/>
            </p:cNvPicPr>
            <p:nvPr/>
          </p:nvPicPr>
          <p:blipFill>
            <a:blip r:embed="rId3"/>
            <a:stretch>
              <a:fillRect/>
            </a:stretch>
          </p:blipFill>
          <p:spPr>
            <a:xfrm>
              <a:off x="2526773" y="4783788"/>
              <a:ext cx="6753225" cy="1162050"/>
            </a:xfrm>
            <a:prstGeom prst="rect">
              <a:avLst/>
            </a:prstGeom>
          </p:spPr>
        </p:pic>
        <p:sp>
          <p:nvSpPr>
            <p:cNvPr id="17" name="Rectangle 16">
              <a:extLst>
                <a:ext uri="{FF2B5EF4-FFF2-40B4-BE49-F238E27FC236}">
                  <a16:creationId xmlns:a16="http://schemas.microsoft.com/office/drawing/2014/main" id="{C08F8206-3F16-4122-B58B-77E6E00FF6BB}"/>
                </a:ext>
              </a:extLst>
            </p:cNvPr>
            <p:cNvSpPr/>
            <p:nvPr/>
          </p:nvSpPr>
          <p:spPr bwMode="auto">
            <a:xfrm>
              <a:off x="2559530" y="5514356"/>
              <a:ext cx="4268307" cy="345106"/>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5387653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2"/>
            <a:ext cx="10972800" cy="474041"/>
          </a:xfrm>
        </p:spPr>
        <p:txBody>
          <a:bodyPr/>
          <a:lstStyle/>
          <a:p>
            <a:r>
              <a:rPr lang="en-US" sz="3200" dirty="0"/>
              <a:t>Query</a:t>
            </a:r>
            <a:r>
              <a:rPr lang="en-US" dirty="0"/>
              <a:t> </a:t>
            </a:r>
            <a:r>
              <a:rPr lang="en-US" sz="3200" dirty="0"/>
              <a:t>Store</a:t>
            </a:r>
            <a:r>
              <a:rPr lang="en-US" dirty="0"/>
              <a:t> </a:t>
            </a:r>
            <a:r>
              <a:rPr lang="en-US" sz="3200" dirty="0"/>
              <a:t>Monitoring</a:t>
            </a:r>
            <a:r>
              <a:rPr lang="en-US" dirty="0"/>
              <a:t> </a:t>
            </a:r>
            <a:r>
              <a:rPr lang="en-US" sz="3200" dirty="0"/>
              <a:t>Settings</a:t>
            </a:r>
          </a:p>
        </p:txBody>
      </p:sp>
      <p:grpSp>
        <p:nvGrpSpPr>
          <p:cNvPr id="12" name="Group 11">
            <a:extLst>
              <a:ext uri="{FF2B5EF4-FFF2-40B4-BE49-F238E27FC236}">
                <a16:creationId xmlns:a16="http://schemas.microsoft.com/office/drawing/2014/main" id="{32C6CF17-4E69-49FB-B3E2-129EDFE0709C}"/>
              </a:ext>
            </a:extLst>
          </p:cNvPr>
          <p:cNvGrpSpPr/>
          <p:nvPr/>
        </p:nvGrpSpPr>
        <p:grpSpPr>
          <a:xfrm>
            <a:off x="2594855" y="3617454"/>
            <a:ext cx="7002289" cy="747371"/>
            <a:chOff x="2332037" y="3747968"/>
            <a:chExt cx="7142699" cy="762357"/>
          </a:xfrm>
        </p:grpSpPr>
        <p:pic>
          <p:nvPicPr>
            <p:cNvPr id="13" name="Picture 12">
              <a:extLst>
                <a:ext uri="{FF2B5EF4-FFF2-40B4-BE49-F238E27FC236}">
                  <a16:creationId xmlns:a16="http://schemas.microsoft.com/office/drawing/2014/main" id="{EC6FC48B-1F09-4AC8-B287-2D6E1E1654A0}"/>
                </a:ext>
              </a:extLst>
            </p:cNvPr>
            <p:cNvPicPr>
              <a:picLocks noChangeAspect="1"/>
            </p:cNvPicPr>
            <p:nvPr/>
          </p:nvPicPr>
          <p:blipFill>
            <a:blip r:embed="rId2"/>
            <a:stretch>
              <a:fillRect/>
            </a:stretch>
          </p:blipFill>
          <p:spPr>
            <a:xfrm>
              <a:off x="2332037" y="3747968"/>
              <a:ext cx="7142699" cy="762357"/>
            </a:xfrm>
            <a:prstGeom prst="rect">
              <a:avLst/>
            </a:prstGeom>
          </p:spPr>
        </p:pic>
        <p:sp>
          <p:nvSpPr>
            <p:cNvPr id="14" name="Rectangle 13">
              <a:extLst>
                <a:ext uri="{FF2B5EF4-FFF2-40B4-BE49-F238E27FC236}">
                  <a16:creationId xmlns:a16="http://schemas.microsoft.com/office/drawing/2014/main" id="{F4D13F47-F851-4CA8-B3A8-9F55A4A55DB8}"/>
                </a:ext>
              </a:extLst>
            </p:cNvPr>
            <p:cNvSpPr/>
            <p:nvPr/>
          </p:nvSpPr>
          <p:spPr bwMode="auto">
            <a:xfrm>
              <a:off x="2636837" y="4242586"/>
              <a:ext cx="6837899" cy="261693"/>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820C60B9-B32D-45BC-A3AC-EDE0D6E8D0DB}"/>
              </a:ext>
            </a:extLst>
          </p:cNvPr>
          <p:cNvGrpSpPr/>
          <p:nvPr/>
        </p:nvGrpSpPr>
        <p:grpSpPr>
          <a:xfrm>
            <a:off x="2785764" y="4609519"/>
            <a:ext cx="6620471" cy="1139207"/>
            <a:chOff x="2526773" y="4783788"/>
            <a:chExt cx="6753225" cy="1162050"/>
          </a:xfrm>
        </p:grpSpPr>
        <p:pic>
          <p:nvPicPr>
            <p:cNvPr id="16" name="Picture 15">
              <a:extLst>
                <a:ext uri="{FF2B5EF4-FFF2-40B4-BE49-F238E27FC236}">
                  <a16:creationId xmlns:a16="http://schemas.microsoft.com/office/drawing/2014/main" id="{4D9D0559-8E02-47AB-93DB-F80D9E330527}"/>
                </a:ext>
              </a:extLst>
            </p:cNvPr>
            <p:cNvPicPr>
              <a:picLocks noChangeAspect="1"/>
            </p:cNvPicPr>
            <p:nvPr/>
          </p:nvPicPr>
          <p:blipFill>
            <a:blip r:embed="rId3"/>
            <a:stretch>
              <a:fillRect/>
            </a:stretch>
          </p:blipFill>
          <p:spPr>
            <a:xfrm>
              <a:off x="2526773" y="4783788"/>
              <a:ext cx="6753225" cy="1162050"/>
            </a:xfrm>
            <a:prstGeom prst="rect">
              <a:avLst/>
            </a:prstGeom>
          </p:spPr>
        </p:pic>
        <p:sp>
          <p:nvSpPr>
            <p:cNvPr id="17" name="Rectangle 16">
              <a:extLst>
                <a:ext uri="{FF2B5EF4-FFF2-40B4-BE49-F238E27FC236}">
                  <a16:creationId xmlns:a16="http://schemas.microsoft.com/office/drawing/2014/main" id="{C08F8206-3F16-4122-B58B-77E6E00FF6BB}"/>
                </a:ext>
              </a:extLst>
            </p:cNvPr>
            <p:cNvSpPr/>
            <p:nvPr/>
          </p:nvSpPr>
          <p:spPr bwMode="auto">
            <a:xfrm>
              <a:off x="2587796" y="5192260"/>
              <a:ext cx="4268307" cy="345106"/>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Text Placeholder 4">
            <a:extLst>
              <a:ext uri="{FF2B5EF4-FFF2-40B4-BE49-F238E27FC236}">
                <a16:creationId xmlns:a16="http://schemas.microsoft.com/office/drawing/2014/main" id="{F26E5BDF-21D4-42F2-BC0C-DCD419763B12}"/>
              </a:ext>
            </a:extLst>
          </p:cNvPr>
          <p:cNvSpPr txBox="1">
            <a:spLocks/>
          </p:cNvSpPr>
          <p:nvPr/>
        </p:nvSpPr>
        <p:spPr>
          <a:xfrm>
            <a:off x="270892" y="95864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Statistics Collection Interval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he time interval at which runtime execution statistics data is aggregated into the query store. Only the values of 1, 5, 10, 15, 60, and 1440 minutes is allowed.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60</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86931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60539" y="114907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Max Plans Per Query </a:t>
            </a:r>
            <a:r>
              <a:rPr kumimoji="0" lang="en-US" sz="3600" b="0" i="0" u="none" strike="noStrike" kern="1200" cap="none" spc="0" normalizeH="0" baseline="0" noProof="0" dirty="0">
                <a:ln>
                  <a:noFill/>
                </a:ln>
                <a:solidFill>
                  <a:srgbClr val="000000"/>
                </a:solidFill>
                <a:effectLst/>
                <a:uLnTx/>
                <a:uFillTx/>
                <a:latin typeface="Segoe UI"/>
                <a:ea typeface="+mn-ea"/>
                <a:cs typeface="+mn-cs"/>
              </a:rPr>
              <a:t>is a new retention setting introduced in SQL Server 2017 and is an integer representing the maximum number of plans maintained for each query.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200</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2063" y="3863268"/>
                <a:ext cx="4707548" cy="35921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231" y="3828473"/>
              <a:ext cx="4707548" cy="31996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632798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2063" y="4202546"/>
                <a:ext cx="4707548" cy="313475"/>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231" y="4110572"/>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Text Placeholder 4">
            <a:extLst>
              <a:ext uri="{FF2B5EF4-FFF2-40B4-BE49-F238E27FC236}">
                <a16:creationId xmlns:a16="http://schemas.microsoft.com/office/drawing/2014/main" id="{55510D03-36E1-404B-9197-D6A98D340CB4}"/>
              </a:ext>
            </a:extLst>
          </p:cNvPr>
          <p:cNvSpPr txBox="1">
            <a:spLocks/>
          </p:cNvSpPr>
          <p:nvPr/>
        </p:nvSpPr>
        <p:spPr>
          <a:xfrm>
            <a:off x="315807" y="1243060"/>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1" i="0" u="none" strike="noStrike" kern="1200" cap="none" spc="0" normalizeH="0" baseline="0" noProof="0" dirty="0">
                <a:ln>
                  <a:noFill/>
                </a:ln>
                <a:solidFill>
                  <a:srgbClr val="000000"/>
                </a:solidFill>
                <a:effectLst/>
                <a:uLnTx/>
                <a:uFillTx/>
                <a:latin typeface="Segoe UI"/>
                <a:ea typeface="+mn-ea"/>
                <a:cs typeface="+mn-cs"/>
              </a:rPr>
              <a:t>Max Size (MB) </a:t>
            </a:r>
            <a:r>
              <a:rPr kumimoji="0" lang="en-US" sz="3921" b="0" i="0" u="none" strike="noStrike" kern="1200" cap="none" spc="0" normalizeH="0" baseline="0" noProof="0" dirty="0">
                <a:ln>
                  <a:noFill/>
                </a:ln>
                <a:solidFill>
                  <a:srgbClr val="000000"/>
                </a:solidFill>
                <a:effectLst/>
                <a:uLnTx/>
                <a:uFillTx/>
                <a:latin typeface="Segoe UI"/>
                <a:ea typeface="+mn-ea"/>
                <a:cs typeface="+mn-cs"/>
              </a:rPr>
              <a:t>configures the maximum storage size for the query store. (Default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100MB</a:t>
            </a:r>
            <a:r>
              <a:rPr kumimoji="0" lang="en-US" sz="3921" b="0" i="0" u="none" strike="noStrike" kern="1200" cap="none" spc="0" normalizeH="0" baseline="0" noProof="0" dirty="0">
                <a:ln>
                  <a:noFill/>
                </a:ln>
                <a:solidFill>
                  <a:srgbClr val="000000"/>
                </a:solidFill>
                <a:effectLst/>
                <a:uLnTx/>
                <a:uFillTx/>
                <a:latin typeface="Segoe UI"/>
                <a:ea typeface="+mn-ea"/>
                <a:cs typeface="+mn-cs"/>
              </a:rPr>
              <a:t>) When the query store limit is reached, query store changes the state from read-write to read-only.</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93895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Plan Cache </a:t>
            </a:r>
          </a:p>
          <a:p>
            <a:r>
              <a:rPr lang="en-US" dirty="0"/>
              <a:t>Lesson 2: SQL Server Query Store </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2063" y="4502727"/>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231" y="4382592"/>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 name="Text Placeholder 4">
            <a:extLst>
              <a:ext uri="{FF2B5EF4-FFF2-40B4-BE49-F238E27FC236}">
                <a16:creationId xmlns:a16="http://schemas.microsoft.com/office/drawing/2014/main" id="{33274495-50A2-4DC7-B5DD-A51EA39A8AAA}"/>
              </a:ext>
            </a:extLst>
          </p:cNvPr>
          <p:cNvSpPr txBox="1">
            <a:spLocks/>
          </p:cNvSpPr>
          <p:nvPr/>
        </p:nvSpPr>
        <p:spPr>
          <a:xfrm>
            <a:off x="347079" y="990727"/>
            <a:ext cx="11651870" cy="25666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Query Store Capture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o capture all the queries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ALL</a:t>
            </a:r>
            <a:r>
              <a:rPr kumimoji="0" lang="en-US" sz="3600" b="0" i="0" u="none" strike="noStrike" kern="1200" cap="none" spc="0" normalizeH="0" baseline="0" noProof="0" dirty="0">
                <a:ln>
                  <a:noFill/>
                </a:ln>
                <a:solidFill>
                  <a:srgbClr val="000000"/>
                </a:solidFill>
                <a:effectLst/>
                <a:uLnTx/>
                <a:uFillTx/>
                <a:latin typeface="Segoe UI"/>
                <a:ea typeface="+mn-ea"/>
                <a:cs typeface="+mn-cs"/>
              </a:rPr>
              <a:t>), or relevant queries based on execution count and resource consumption (</a:t>
            </a:r>
            <a:r>
              <a:rPr kumimoji="0" lang="en-US" sz="3600" b="1" i="0" u="none" strike="noStrike" kern="1200" cap="none" spc="0" normalizeH="0" baseline="0" noProof="0" dirty="0">
                <a:ln>
                  <a:noFill/>
                </a:ln>
                <a:solidFill>
                  <a:srgbClr val="000000"/>
                </a:solidFill>
                <a:effectLst/>
                <a:uLnTx/>
                <a:uFillTx/>
                <a:latin typeface="Segoe UI"/>
                <a:ea typeface="+mn-ea"/>
                <a:cs typeface="+mn-cs"/>
              </a:rPr>
              <a:t>AUTO</a:t>
            </a:r>
            <a:r>
              <a:rPr kumimoji="0" lang="en-US" sz="3600" b="0" i="0" u="none" strike="noStrike" kern="1200" cap="none" spc="0" normalizeH="0" baseline="0" noProof="0" dirty="0">
                <a:ln>
                  <a:noFill/>
                </a:ln>
                <a:solidFill>
                  <a:srgbClr val="000000"/>
                </a:solidFill>
                <a:effectLst/>
                <a:uLnTx/>
                <a:uFillTx/>
                <a:latin typeface="Segoe UI"/>
                <a:ea typeface="+mn-ea"/>
                <a:cs typeface="+mn-cs"/>
              </a:rPr>
              <a:t>) or stop capturing queries (</a:t>
            </a:r>
            <a:r>
              <a:rPr kumimoji="0" lang="en-US" sz="3600" b="1" i="0" u="none" strike="noStrike" kern="1200" cap="none" spc="0" normalizeH="0" baseline="0" noProof="0" dirty="0">
                <a:ln>
                  <a:noFill/>
                </a:ln>
                <a:solidFill>
                  <a:srgbClr val="000000"/>
                </a:solidFill>
                <a:effectLst/>
                <a:uLnTx/>
                <a:uFillTx/>
                <a:latin typeface="Segoe UI"/>
                <a:ea typeface="+mn-ea"/>
                <a:cs typeface="+mn-cs"/>
              </a:rPr>
              <a:t>NONE</a:t>
            </a:r>
            <a:r>
              <a:rPr kumimoji="0" lang="en-US" sz="3600" b="0" i="0" u="none" strike="noStrike" kern="1200" cap="none" spc="0" normalizeH="0" baseline="0" noProof="0" dirty="0">
                <a:ln>
                  <a:noFill/>
                </a:ln>
                <a:solidFill>
                  <a:srgbClr val="000000"/>
                </a:solidFill>
                <a:effectLst/>
                <a:uLnTx/>
                <a:uFillTx/>
                <a:latin typeface="Segoe UI"/>
                <a:ea typeface="+mn-ea"/>
                <a:cs typeface="+mn-cs"/>
              </a:rPr>
              <a:t>). SQL Server 2019 introduces an additional (</a:t>
            </a:r>
            <a:r>
              <a:rPr kumimoji="0" lang="en-US" sz="3600" b="1" i="0" u="none" strike="noStrike" kern="1200" cap="none" spc="0" normalizeH="0" baseline="0" noProof="0" dirty="0">
                <a:ln>
                  <a:noFill/>
                </a:ln>
                <a:solidFill>
                  <a:srgbClr val="000000"/>
                </a:solidFill>
                <a:effectLst/>
                <a:uLnTx/>
                <a:uFillTx/>
                <a:latin typeface="Segoe UI"/>
                <a:ea typeface="+mn-ea"/>
                <a:cs typeface="+mn-cs"/>
              </a:rPr>
              <a:t>CUSTOM</a:t>
            </a:r>
            <a:r>
              <a:rPr kumimoji="0" lang="en-US" sz="3600" b="0" i="0" u="none" strike="noStrike" kern="1200" cap="none" spc="0" normalizeH="0" baseline="0" noProof="0" dirty="0">
                <a:ln>
                  <a:noFill/>
                </a:ln>
                <a:solidFill>
                  <a:srgbClr val="000000"/>
                </a:solidFill>
                <a:effectLst/>
                <a:uLnTx/>
                <a:uFillTx/>
                <a:latin typeface="Segoe UI"/>
                <a:ea typeface="+mn-ea"/>
                <a:cs typeface="+mn-cs"/>
              </a:rPr>
              <a:t>) setting.</a:t>
            </a:r>
          </a:p>
        </p:txBody>
      </p:sp>
    </p:spTree>
    <p:extLst>
      <p:ext uri="{BB962C8B-B14F-4D97-AF65-F5344CB8AC3E}">
        <p14:creationId xmlns:p14="http://schemas.microsoft.com/office/powerpoint/2010/main" val="8423091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4793672"/>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025" y="4626343"/>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Text Placeholder 4">
            <a:extLst>
              <a:ext uri="{FF2B5EF4-FFF2-40B4-BE49-F238E27FC236}">
                <a16:creationId xmlns:a16="http://schemas.microsoft.com/office/drawing/2014/main" id="{C5854E9A-EEC0-4C3B-989B-251C107F9C81}"/>
              </a:ext>
            </a:extLst>
          </p:cNvPr>
          <p:cNvSpPr txBox="1">
            <a:spLocks/>
          </p:cNvSpPr>
          <p:nvPr/>
        </p:nvSpPr>
        <p:spPr>
          <a:xfrm>
            <a:off x="316687" y="1201948"/>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Size Based Cleanup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whether the cleanup process will be automatically activated when the total amount of data gets close to the maximum size.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Auto</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658178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5112326"/>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024" y="4875724"/>
              <a:ext cx="6257393"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 name="Text Placeholder 4">
            <a:extLst>
              <a:ext uri="{FF2B5EF4-FFF2-40B4-BE49-F238E27FC236}">
                <a16:creationId xmlns:a16="http://schemas.microsoft.com/office/drawing/2014/main" id="{79314230-6546-4920-9EF3-3CC68918F0C6}"/>
              </a:ext>
            </a:extLst>
          </p:cNvPr>
          <p:cNvSpPr txBox="1">
            <a:spLocks/>
          </p:cNvSpPr>
          <p:nvPr/>
        </p:nvSpPr>
        <p:spPr>
          <a:xfrm>
            <a:off x="406721" y="1310710"/>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1" i="0" u="none" strike="noStrike" kern="1200" cap="none" spc="0" normalizeH="0" baseline="0" noProof="0" dirty="0">
                <a:ln>
                  <a:noFill/>
                </a:ln>
                <a:solidFill>
                  <a:srgbClr val="000000"/>
                </a:solidFill>
                <a:effectLst/>
                <a:uLnTx/>
                <a:uFillTx/>
                <a:latin typeface="Segoe UI"/>
                <a:ea typeface="+mn-ea"/>
                <a:cs typeface="+mn-cs"/>
              </a:rPr>
              <a:t>Stale Query Threshold (Days) </a:t>
            </a:r>
            <a:r>
              <a:rPr kumimoji="0" lang="en-US" sz="3921" b="0" i="0" u="none" strike="noStrike" kern="1200" cap="none" spc="0" normalizeH="0" baseline="0" noProof="0" dirty="0">
                <a:ln>
                  <a:noFill/>
                </a:ln>
                <a:solidFill>
                  <a:srgbClr val="000000"/>
                </a:solidFill>
                <a:effectLst/>
                <a:uLnTx/>
                <a:uFillTx/>
                <a:latin typeface="Segoe UI"/>
                <a:ea typeface="+mn-ea"/>
                <a:cs typeface="+mn-cs"/>
              </a:rPr>
              <a:t>determines the number of days to retain data in the query store. (Default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30 days </a:t>
            </a:r>
            <a:r>
              <a:rPr kumimoji="0" lang="en-US" sz="3921" b="0" i="0" u="none" strike="noStrike" kern="1200" cap="none" spc="0" normalizeH="0" baseline="0" noProof="0" dirty="0">
                <a:ln>
                  <a:noFill/>
                </a:ln>
                <a:solidFill>
                  <a:srgbClr val="000000"/>
                </a:solidFill>
                <a:effectLst/>
                <a:uLnTx/>
                <a:uFillTx/>
                <a:latin typeface="Segoe UI"/>
                <a:ea typeface="+mn-ea"/>
                <a:cs typeface="+mn-cs"/>
              </a:rPr>
              <a:t>and Maximum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367 days</a:t>
            </a:r>
            <a:r>
              <a:rPr kumimoji="0" lang="en-US" sz="3921"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31844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8" name="Group 7">
            <a:extLst>
              <a:ext uri="{FF2B5EF4-FFF2-40B4-BE49-F238E27FC236}">
                <a16:creationId xmlns:a16="http://schemas.microsoft.com/office/drawing/2014/main" id="{7F2A8B6B-3CB7-4C3A-84A2-0D730E7BFC58}"/>
              </a:ext>
            </a:extLst>
          </p:cNvPr>
          <p:cNvGrpSpPr/>
          <p:nvPr/>
        </p:nvGrpSpPr>
        <p:grpSpPr>
          <a:xfrm>
            <a:off x="315807" y="3793644"/>
            <a:ext cx="11411869" cy="2176370"/>
            <a:chOff x="223443" y="3562735"/>
            <a:chExt cx="11411869" cy="2176370"/>
          </a:xfrm>
        </p:grpSpPr>
        <p:grpSp>
          <p:nvGrpSpPr>
            <p:cNvPr id="6" name="Group 5">
              <a:extLst>
                <a:ext uri="{FF2B5EF4-FFF2-40B4-BE49-F238E27FC236}">
                  <a16:creationId xmlns:a16="http://schemas.microsoft.com/office/drawing/2014/main" id="{40B5F2E3-B22B-48C8-870B-E6DA5C7A4CD0}"/>
                </a:ext>
              </a:extLst>
            </p:cNvPr>
            <p:cNvGrpSpPr/>
            <p:nvPr/>
          </p:nvGrpSpPr>
          <p:grpSpPr>
            <a:xfrm>
              <a:off x="223443" y="3562735"/>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5421014"/>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7" name="Picture 6">
              <a:extLst>
                <a:ext uri="{FF2B5EF4-FFF2-40B4-BE49-F238E27FC236}">
                  <a16:creationId xmlns:a16="http://schemas.microsoft.com/office/drawing/2014/main" id="{78C02A35-4767-4F98-9992-C2C060039B3E}"/>
                </a:ext>
              </a:extLst>
            </p:cNvPr>
            <p:cNvPicPr>
              <a:picLocks noChangeAspect="1"/>
            </p:cNvPicPr>
            <p:nvPr/>
          </p:nvPicPr>
          <p:blipFill>
            <a:blip r:embed="rId4"/>
            <a:stretch>
              <a:fillRect/>
            </a:stretch>
          </p:blipFill>
          <p:spPr>
            <a:xfrm>
              <a:off x="5228231" y="3583073"/>
              <a:ext cx="6407081" cy="2135694"/>
            </a:xfrm>
            <a:prstGeom prst="rect">
              <a:avLst/>
            </a:prstGeom>
          </p:spPr>
        </p:pic>
        <p:sp>
          <p:nvSpPr>
            <p:cNvPr id="25" name="Rectangle 24">
              <a:extLst>
                <a:ext uri="{FF2B5EF4-FFF2-40B4-BE49-F238E27FC236}">
                  <a16:creationId xmlns:a16="http://schemas.microsoft.com/office/drawing/2014/main" id="{F386A5A2-5254-49AE-9EFB-E2A22D355E75}"/>
                </a:ext>
              </a:extLst>
            </p:cNvPr>
            <p:cNvSpPr/>
            <p:nvPr/>
          </p:nvSpPr>
          <p:spPr bwMode="auto">
            <a:xfrm>
              <a:off x="5228025" y="5132536"/>
              <a:ext cx="3726629"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 name="Text Placeholder 4">
            <a:extLst>
              <a:ext uri="{FF2B5EF4-FFF2-40B4-BE49-F238E27FC236}">
                <a16:creationId xmlns:a16="http://schemas.microsoft.com/office/drawing/2014/main" id="{79314230-6546-4920-9EF3-3CC68918F0C6}"/>
              </a:ext>
            </a:extLst>
          </p:cNvPr>
          <p:cNvSpPr txBox="1">
            <a:spLocks/>
          </p:cNvSpPr>
          <p:nvPr/>
        </p:nvSpPr>
        <p:spPr>
          <a:xfrm>
            <a:off x="351303" y="12060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Wait Statistics Capture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is a new retention setting introduced in SQL Server 2017 that controls if Query Store captures wait statistics information.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solidFill>
                  <a:srgbClr val="000000"/>
                </a:solidFill>
                <a:effectLst/>
                <a:uLnTx/>
                <a:uFillTx/>
                <a:latin typeface="Segoe UI"/>
                <a:ea typeface="+mn-ea"/>
                <a:cs typeface="+mn-cs"/>
              </a:rPr>
              <a:t>(Default = </a:t>
            </a:r>
            <a:r>
              <a:rPr kumimoji="0" lang="en-US" sz="3600" b="1" i="0" u="none" strike="noStrike" kern="1200" cap="none" spc="0" normalizeH="0" baseline="0" noProof="0" dirty="0">
                <a:ln>
                  <a:noFill/>
                </a:ln>
                <a:solidFill>
                  <a:srgbClr val="000000"/>
                </a:solidFill>
                <a:effectLst/>
                <a:uLnTx/>
                <a:uFillTx/>
                <a:latin typeface="Segoe UI"/>
                <a:ea typeface="+mn-ea"/>
                <a:cs typeface="+mn-cs"/>
              </a:rPr>
              <a:t>ON</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p:txBody>
      </p:sp>
    </p:spTree>
    <p:extLst>
      <p:ext uri="{BB962C8B-B14F-4D97-AF65-F5344CB8AC3E}">
        <p14:creationId xmlns:p14="http://schemas.microsoft.com/office/powerpoint/2010/main" val="863815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200" b="1"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EXECUTION COUN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a query must exceed within the Stale Threshold time period to be captured by the Query Store.</a:t>
            </a:r>
          </a:p>
        </p:txBody>
      </p:sp>
      <p:pic>
        <p:nvPicPr>
          <p:cNvPr id="5" name="Picture 4">
            <a:extLst>
              <a:ext uri="{FF2B5EF4-FFF2-40B4-BE49-F238E27FC236}">
                <a16:creationId xmlns:a16="http://schemas.microsoft.com/office/drawing/2014/main" id="{4DA2209B-A24B-4D94-B72C-76A1BC533816}"/>
              </a:ext>
            </a:extLst>
          </p:cNvPr>
          <p:cNvPicPr>
            <a:picLocks noChangeAspect="1"/>
          </p:cNvPicPr>
          <p:nvPr/>
        </p:nvPicPr>
        <p:blipFill>
          <a:blip r:embed="rId2"/>
          <a:stretch>
            <a:fillRect/>
          </a:stretch>
        </p:blipFill>
        <p:spPr>
          <a:xfrm>
            <a:off x="190728" y="4147126"/>
            <a:ext cx="9096434" cy="1265383"/>
          </a:xfrm>
          <a:prstGeom prst="rect">
            <a:avLst/>
          </a:prstGeom>
        </p:spPr>
      </p:pic>
      <p:pic>
        <p:nvPicPr>
          <p:cNvPr id="7" name="Picture 6">
            <a:extLst>
              <a:ext uri="{FF2B5EF4-FFF2-40B4-BE49-F238E27FC236}">
                <a16:creationId xmlns:a16="http://schemas.microsoft.com/office/drawing/2014/main" id="{5286DE12-C604-4802-86A3-0F84A9908091}"/>
              </a:ext>
            </a:extLst>
          </p:cNvPr>
          <p:cNvPicPr>
            <a:picLocks noChangeAspect="1"/>
          </p:cNvPicPr>
          <p:nvPr/>
        </p:nvPicPr>
        <p:blipFill>
          <a:blip r:embed="rId3"/>
          <a:stretch>
            <a:fillRect/>
          </a:stretch>
        </p:blipFill>
        <p:spPr>
          <a:xfrm>
            <a:off x="5521963" y="3835400"/>
            <a:ext cx="6391563" cy="1989062"/>
          </a:xfrm>
          <a:prstGeom prst="rect">
            <a:avLst/>
          </a:prstGeom>
          <a:ln>
            <a:solidFill>
              <a:srgbClr val="002060"/>
            </a:solidFill>
          </a:ln>
        </p:spPr>
      </p:pic>
      <p:sp>
        <p:nvSpPr>
          <p:cNvPr id="6" name="Rectangle 5">
            <a:extLst>
              <a:ext uri="{FF2B5EF4-FFF2-40B4-BE49-F238E27FC236}">
                <a16:creationId xmlns:a16="http://schemas.microsoft.com/office/drawing/2014/main" id="{BF2D17CF-8F8C-4FDD-BB64-6F369E158C53}"/>
              </a:ext>
            </a:extLst>
          </p:cNvPr>
          <p:cNvSpPr/>
          <p:nvPr/>
        </p:nvSpPr>
        <p:spPr bwMode="auto">
          <a:xfrm>
            <a:off x="5602098" y="4413219"/>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D7FA144F-08A8-4A61-B175-59097B4E320A}"/>
              </a:ext>
            </a:extLst>
          </p:cNvPr>
          <p:cNvSpPr/>
          <p:nvPr/>
        </p:nvSpPr>
        <p:spPr bwMode="auto">
          <a:xfrm>
            <a:off x="526716" y="4394745"/>
            <a:ext cx="4995247"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16837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can be from 1 hour up to 7 days. This setting specifies the time given to exceed the values of the three other settings for a query to be captured.</a:t>
            </a:r>
          </a:p>
        </p:txBody>
      </p:sp>
      <p:pic>
        <p:nvPicPr>
          <p:cNvPr id="5" name="Picture 4">
            <a:extLst>
              <a:ext uri="{FF2B5EF4-FFF2-40B4-BE49-F238E27FC236}">
                <a16:creationId xmlns:a16="http://schemas.microsoft.com/office/drawing/2014/main" id="{4DA2209B-A24B-4D94-B72C-76A1BC533816}"/>
              </a:ext>
            </a:extLst>
          </p:cNvPr>
          <p:cNvPicPr>
            <a:picLocks noChangeAspect="1"/>
          </p:cNvPicPr>
          <p:nvPr/>
        </p:nvPicPr>
        <p:blipFill>
          <a:blip r:embed="rId2"/>
          <a:stretch>
            <a:fillRect/>
          </a:stretch>
        </p:blipFill>
        <p:spPr>
          <a:xfrm>
            <a:off x="190728" y="4147126"/>
            <a:ext cx="9096434" cy="1265383"/>
          </a:xfrm>
          <a:prstGeom prst="rect">
            <a:avLst/>
          </a:prstGeom>
        </p:spPr>
      </p:pic>
      <p:pic>
        <p:nvPicPr>
          <p:cNvPr id="7" name="Picture 6">
            <a:extLst>
              <a:ext uri="{FF2B5EF4-FFF2-40B4-BE49-F238E27FC236}">
                <a16:creationId xmlns:a16="http://schemas.microsoft.com/office/drawing/2014/main" id="{5286DE12-C604-4802-86A3-0F84A9908091}"/>
              </a:ext>
            </a:extLst>
          </p:cNvPr>
          <p:cNvPicPr>
            <a:picLocks noChangeAspect="1"/>
          </p:cNvPicPr>
          <p:nvPr/>
        </p:nvPicPr>
        <p:blipFill>
          <a:blip r:embed="rId3"/>
          <a:stretch>
            <a:fillRect/>
          </a:stretch>
        </p:blipFill>
        <p:spPr>
          <a:xfrm>
            <a:off x="5521963" y="3835400"/>
            <a:ext cx="6391563" cy="1989062"/>
          </a:xfrm>
          <a:prstGeom prst="rect">
            <a:avLst/>
          </a:prstGeom>
          <a:ln>
            <a:solidFill>
              <a:srgbClr val="002060"/>
            </a:solidFill>
          </a:ln>
        </p:spPr>
      </p:pic>
      <p:sp>
        <p:nvSpPr>
          <p:cNvPr id="6" name="Rectangle 5">
            <a:extLst>
              <a:ext uri="{FF2B5EF4-FFF2-40B4-BE49-F238E27FC236}">
                <a16:creationId xmlns:a16="http://schemas.microsoft.com/office/drawing/2014/main" id="{BF2D17CF-8F8C-4FDD-BB64-6F369E158C53}"/>
              </a:ext>
            </a:extLst>
          </p:cNvPr>
          <p:cNvSpPr/>
          <p:nvPr/>
        </p:nvSpPr>
        <p:spPr bwMode="auto">
          <a:xfrm>
            <a:off x="5606716" y="4685692"/>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D7FA144F-08A8-4A61-B175-59097B4E320A}"/>
              </a:ext>
            </a:extLst>
          </p:cNvPr>
          <p:cNvSpPr/>
          <p:nvPr/>
        </p:nvSpPr>
        <p:spPr bwMode="auto">
          <a:xfrm>
            <a:off x="526715" y="4635578"/>
            <a:ext cx="4995247"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586750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Total Compile CPU Time (</a:t>
            </a:r>
            <a:r>
              <a:rPr kumimoji="0" lang="en-US" sz="3200" b="1" i="0" u="none" strike="noStrike" kern="1200" cap="none" spc="0" normalizeH="0" baseline="0" noProof="0" dirty="0" err="1">
                <a:ln>
                  <a:noFill/>
                </a:ln>
                <a:solidFill>
                  <a:srgbClr val="000000"/>
                </a:solidFill>
                <a:effectLst/>
                <a:uLnTx/>
                <a:uFillTx/>
                <a:latin typeface="Segoe UI"/>
                <a:ea typeface="+mn-ea"/>
                <a:cs typeface="+mn-cs"/>
              </a:rPr>
              <a:t>ms</a:t>
            </a:r>
            <a:r>
              <a:rPr kumimoji="0" lang="en-US" sz="3200" b="1" i="0" u="none" strike="noStrike" kern="1200" cap="none" spc="0" normalizeH="0" baseline="0" noProof="0" dirty="0">
                <a:ln>
                  <a:noFill/>
                </a:ln>
                <a:solidFill>
                  <a:srgbClr val="000000"/>
                </a:solidFill>
                <a:effectLst/>
                <a:uLnTx/>
                <a:uFillTx/>
                <a:latin typeface="Segoe UI"/>
                <a:ea typeface="+mn-ea"/>
                <a:cs typeface="+mn-cs"/>
              </a:rPr>
              <a: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in milliseconds that a query must exceed within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time period to be captured by the Query Store.</a:t>
            </a:r>
          </a:p>
        </p:txBody>
      </p:sp>
      <p:pic>
        <p:nvPicPr>
          <p:cNvPr id="5" name="Picture 4">
            <a:extLst>
              <a:ext uri="{FF2B5EF4-FFF2-40B4-BE49-F238E27FC236}">
                <a16:creationId xmlns:a16="http://schemas.microsoft.com/office/drawing/2014/main" id="{4DA2209B-A24B-4D94-B72C-76A1BC533816}"/>
              </a:ext>
            </a:extLst>
          </p:cNvPr>
          <p:cNvPicPr>
            <a:picLocks noChangeAspect="1"/>
          </p:cNvPicPr>
          <p:nvPr/>
        </p:nvPicPr>
        <p:blipFill>
          <a:blip r:embed="rId2"/>
          <a:stretch>
            <a:fillRect/>
          </a:stretch>
        </p:blipFill>
        <p:spPr>
          <a:xfrm>
            <a:off x="190728" y="4147126"/>
            <a:ext cx="9096434" cy="1265383"/>
          </a:xfrm>
          <a:prstGeom prst="rect">
            <a:avLst/>
          </a:prstGeom>
        </p:spPr>
      </p:pic>
      <p:pic>
        <p:nvPicPr>
          <p:cNvPr id="7" name="Picture 6">
            <a:extLst>
              <a:ext uri="{FF2B5EF4-FFF2-40B4-BE49-F238E27FC236}">
                <a16:creationId xmlns:a16="http://schemas.microsoft.com/office/drawing/2014/main" id="{5286DE12-C604-4802-86A3-0F84A9908091}"/>
              </a:ext>
            </a:extLst>
          </p:cNvPr>
          <p:cNvPicPr>
            <a:picLocks noChangeAspect="1"/>
          </p:cNvPicPr>
          <p:nvPr/>
        </p:nvPicPr>
        <p:blipFill>
          <a:blip r:embed="rId3"/>
          <a:stretch>
            <a:fillRect/>
          </a:stretch>
        </p:blipFill>
        <p:spPr>
          <a:xfrm>
            <a:off x="5521963" y="3835400"/>
            <a:ext cx="6391563" cy="1989062"/>
          </a:xfrm>
          <a:prstGeom prst="rect">
            <a:avLst/>
          </a:prstGeom>
          <a:ln>
            <a:solidFill>
              <a:srgbClr val="002060"/>
            </a:solidFill>
          </a:ln>
        </p:spPr>
      </p:pic>
      <p:sp>
        <p:nvSpPr>
          <p:cNvPr id="6" name="Rectangle 5">
            <a:extLst>
              <a:ext uri="{FF2B5EF4-FFF2-40B4-BE49-F238E27FC236}">
                <a16:creationId xmlns:a16="http://schemas.microsoft.com/office/drawing/2014/main" id="{BF2D17CF-8F8C-4FDD-BB64-6F369E158C53}"/>
              </a:ext>
            </a:extLst>
          </p:cNvPr>
          <p:cNvSpPr/>
          <p:nvPr/>
        </p:nvSpPr>
        <p:spPr bwMode="auto">
          <a:xfrm>
            <a:off x="5615952" y="4981256"/>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D7FA144F-08A8-4A61-B175-59097B4E320A}"/>
              </a:ext>
            </a:extLst>
          </p:cNvPr>
          <p:cNvSpPr/>
          <p:nvPr/>
        </p:nvSpPr>
        <p:spPr bwMode="auto">
          <a:xfrm>
            <a:off x="526716" y="4879654"/>
            <a:ext cx="4995247"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86336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Total Execution CPU Time (</a:t>
            </a:r>
            <a:r>
              <a:rPr kumimoji="0" lang="en-US" sz="3200" b="1" i="0" u="none" strike="noStrike" kern="1200" cap="none" spc="0" normalizeH="0" baseline="0" noProof="0" dirty="0" err="1">
                <a:ln>
                  <a:noFill/>
                </a:ln>
                <a:solidFill>
                  <a:srgbClr val="000000"/>
                </a:solidFill>
                <a:effectLst/>
                <a:uLnTx/>
                <a:uFillTx/>
                <a:latin typeface="Segoe UI"/>
                <a:ea typeface="+mn-ea"/>
                <a:cs typeface="+mn-cs"/>
              </a:rPr>
              <a:t>ms</a:t>
            </a:r>
            <a:r>
              <a:rPr kumimoji="0" lang="en-US" sz="3200" b="1" i="0" u="none" strike="noStrike" kern="1200" cap="none" spc="0" normalizeH="0" baseline="0" noProof="0" dirty="0">
                <a:ln>
                  <a:noFill/>
                </a:ln>
                <a:solidFill>
                  <a:srgbClr val="000000"/>
                </a:solidFill>
                <a:effectLst/>
                <a:uLnTx/>
                <a:uFillTx/>
                <a:latin typeface="Segoe UI"/>
                <a:ea typeface="+mn-ea"/>
                <a:cs typeface="+mn-cs"/>
              </a:rPr>
              <a: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in milliseconds that a query must exceed within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time period to be captured by the Query Store.</a:t>
            </a:r>
          </a:p>
        </p:txBody>
      </p:sp>
      <p:pic>
        <p:nvPicPr>
          <p:cNvPr id="5" name="Picture 4">
            <a:extLst>
              <a:ext uri="{FF2B5EF4-FFF2-40B4-BE49-F238E27FC236}">
                <a16:creationId xmlns:a16="http://schemas.microsoft.com/office/drawing/2014/main" id="{4DA2209B-A24B-4D94-B72C-76A1BC533816}"/>
              </a:ext>
            </a:extLst>
          </p:cNvPr>
          <p:cNvPicPr>
            <a:picLocks noChangeAspect="1"/>
          </p:cNvPicPr>
          <p:nvPr/>
        </p:nvPicPr>
        <p:blipFill>
          <a:blip r:embed="rId2"/>
          <a:stretch>
            <a:fillRect/>
          </a:stretch>
        </p:blipFill>
        <p:spPr>
          <a:xfrm>
            <a:off x="190728" y="4147126"/>
            <a:ext cx="9096434" cy="1265383"/>
          </a:xfrm>
          <a:prstGeom prst="rect">
            <a:avLst/>
          </a:prstGeom>
        </p:spPr>
      </p:pic>
      <p:pic>
        <p:nvPicPr>
          <p:cNvPr id="7" name="Picture 6">
            <a:extLst>
              <a:ext uri="{FF2B5EF4-FFF2-40B4-BE49-F238E27FC236}">
                <a16:creationId xmlns:a16="http://schemas.microsoft.com/office/drawing/2014/main" id="{5286DE12-C604-4802-86A3-0F84A9908091}"/>
              </a:ext>
            </a:extLst>
          </p:cNvPr>
          <p:cNvPicPr>
            <a:picLocks noChangeAspect="1"/>
          </p:cNvPicPr>
          <p:nvPr/>
        </p:nvPicPr>
        <p:blipFill>
          <a:blip r:embed="rId3"/>
          <a:stretch>
            <a:fillRect/>
          </a:stretch>
        </p:blipFill>
        <p:spPr>
          <a:xfrm>
            <a:off x="5521963" y="3835400"/>
            <a:ext cx="6391563" cy="1989062"/>
          </a:xfrm>
          <a:prstGeom prst="rect">
            <a:avLst/>
          </a:prstGeom>
          <a:ln>
            <a:solidFill>
              <a:srgbClr val="002060"/>
            </a:solidFill>
          </a:ln>
        </p:spPr>
      </p:pic>
      <p:sp>
        <p:nvSpPr>
          <p:cNvPr id="6" name="Rectangle 5">
            <a:extLst>
              <a:ext uri="{FF2B5EF4-FFF2-40B4-BE49-F238E27FC236}">
                <a16:creationId xmlns:a16="http://schemas.microsoft.com/office/drawing/2014/main" id="{BF2D17CF-8F8C-4FDD-BB64-6F369E158C53}"/>
              </a:ext>
            </a:extLst>
          </p:cNvPr>
          <p:cNvSpPr/>
          <p:nvPr/>
        </p:nvSpPr>
        <p:spPr bwMode="auto">
          <a:xfrm>
            <a:off x="5602098" y="5268270"/>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D7FA144F-08A8-4A61-B175-59097B4E320A}"/>
              </a:ext>
            </a:extLst>
          </p:cNvPr>
          <p:cNvSpPr/>
          <p:nvPr/>
        </p:nvSpPr>
        <p:spPr bwMode="auto">
          <a:xfrm>
            <a:off x="503627" y="5124031"/>
            <a:ext cx="4995247"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26717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3"/>
            <a:ext cx="10972800" cy="474041"/>
          </a:xfrm>
        </p:spPr>
        <p:txBody>
          <a:bodyPr/>
          <a:lstStyle/>
          <a:p>
            <a:r>
              <a:rPr lang="en-US" sz="3200" dirty="0"/>
              <a:t>Purge</a:t>
            </a:r>
            <a:r>
              <a:rPr lang="en-US" dirty="0"/>
              <a:t> </a:t>
            </a:r>
            <a:r>
              <a:rPr lang="en-US" sz="3200" dirty="0"/>
              <a:t>Query</a:t>
            </a:r>
            <a:r>
              <a:rPr lang="en-US" dirty="0"/>
              <a:t> </a:t>
            </a:r>
            <a:r>
              <a:rPr lang="en-US" sz="3200" dirty="0"/>
              <a:t>Data</a:t>
            </a:r>
          </a:p>
        </p:txBody>
      </p:sp>
      <p:pic>
        <p:nvPicPr>
          <p:cNvPr id="11" name="Picture 10">
            <a:extLst>
              <a:ext uri="{FF2B5EF4-FFF2-40B4-BE49-F238E27FC236}">
                <a16:creationId xmlns:a16="http://schemas.microsoft.com/office/drawing/2014/main" id="{AC8F1D11-605A-48F6-B8BB-B60B59686032}"/>
              </a:ext>
            </a:extLst>
          </p:cNvPr>
          <p:cNvPicPr>
            <a:picLocks noChangeAspect="1"/>
          </p:cNvPicPr>
          <p:nvPr/>
        </p:nvPicPr>
        <p:blipFill>
          <a:blip r:embed="rId2"/>
          <a:stretch>
            <a:fillRect/>
          </a:stretch>
        </p:blipFill>
        <p:spPr>
          <a:xfrm>
            <a:off x="568047" y="2329380"/>
            <a:ext cx="7407427" cy="3691649"/>
          </a:xfrm>
          <a:prstGeom prst="rect">
            <a:avLst/>
          </a:prstGeom>
          <a:ln>
            <a:noFill/>
          </a:ln>
          <a:effectLst>
            <a:outerShdw blurRad="190500" algn="tl" rotWithShape="0">
              <a:srgbClr val="000000">
                <a:alpha val="70000"/>
              </a:srgbClr>
            </a:outerShdw>
          </a:effectLst>
        </p:spPr>
      </p:pic>
      <p:sp>
        <p:nvSpPr>
          <p:cNvPr id="12" name="Text Placeholder 4">
            <a:extLst>
              <a:ext uri="{FF2B5EF4-FFF2-40B4-BE49-F238E27FC236}">
                <a16:creationId xmlns:a16="http://schemas.microsoft.com/office/drawing/2014/main" id="{5BD04553-5E17-4BA9-9138-48D4BBB63F12}"/>
              </a:ext>
            </a:extLst>
          </p:cNvPr>
          <p:cNvSpPr txBox="1">
            <a:spLocks/>
          </p:cNvSpPr>
          <p:nvPr/>
        </p:nvSpPr>
        <p:spPr>
          <a:xfrm>
            <a:off x="406721" y="1028683"/>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dirty="0">
                <a:ln>
                  <a:noFill/>
                </a:ln>
                <a:solidFill>
                  <a:srgbClr val="000000"/>
                </a:solidFill>
                <a:effectLst/>
                <a:uLnTx/>
                <a:uFillTx/>
                <a:latin typeface="Segoe UI"/>
                <a:ea typeface="+mn-ea"/>
                <a:cs typeface="+mn-cs"/>
              </a:rPr>
              <a:t>Data can be manually purged from the Query Store.</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714E0F01-7E44-467E-AB07-B2E1A0C0E311}"/>
              </a:ext>
            </a:extLst>
          </p:cNvPr>
          <p:cNvGrpSpPr/>
          <p:nvPr/>
        </p:nvGrpSpPr>
        <p:grpSpPr>
          <a:xfrm>
            <a:off x="5348979" y="1834479"/>
            <a:ext cx="6200272" cy="971127"/>
            <a:chOff x="4846637" y="2354262"/>
            <a:chExt cx="6324600" cy="990600"/>
          </a:xfrm>
        </p:grpSpPr>
        <p:sp>
          <p:nvSpPr>
            <p:cNvPr id="14" name="Rectangle 13">
              <a:extLst>
                <a:ext uri="{FF2B5EF4-FFF2-40B4-BE49-F238E27FC236}">
                  <a16:creationId xmlns:a16="http://schemas.microsoft.com/office/drawing/2014/main" id="{A634E744-F130-46EF-97C6-CC2F39253B15}"/>
                </a:ext>
              </a:extLst>
            </p:cNvPr>
            <p:cNvSpPr/>
            <p:nvPr/>
          </p:nvSpPr>
          <p:spPr bwMode="auto">
            <a:xfrm>
              <a:off x="4846637" y="2354262"/>
              <a:ext cx="6324600" cy="9906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a:extLst>
                <a:ext uri="{FF2B5EF4-FFF2-40B4-BE49-F238E27FC236}">
                  <a16:creationId xmlns:a16="http://schemas.microsoft.com/office/drawing/2014/main" id="{6B09D871-DF2C-4695-A07B-7B1FE1E521B2}"/>
                </a:ext>
              </a:extLst>
            </p:cNvPr>
            <p:cNvPicPr>
              <a:picLocks noChangeAspect="1"/>
            </p:cNvPicPr>
            <p:nvPr/>
          </p:nvPicPr>
          <p:blipFill>
            <a:blip r:embed="rId3"/>
            <a:stretch>
              <a:fillRect/>
            </a:stretch>
          </p:blipFill>
          <p:spPr>
            <a:xfrm>
              <a:off x="5132387" y="2659062"/>
              <a:ext cx="5734050" cy="400050"/>
            </a:xfrm>
            <a:prstGeom prst="rect">
              <a:avLst/>
            </a:prstGeom>
          </p:spPr>
        </p:pic>
      </p:grpSp>
      <p:cxnSp>
        <p:nvCxnSpPr>
          <p:cNvPr id="16" name="Connector: Elbow 15">
            <a:extLst>
              <a:ext uri="{FF2B5EF4-FFF2-40B4-BE49-F238E27FC236}">
                <a16:creationId xmlns:a16="http://schemas.microsoft.com/office/drawing/2014/main" id="{5CFB137B-8010-4508-A441-EC1B06D3923C}"/>
              </a:ext>
            </a:extLst>
          </p:cNvPr>
          <p:cNvCxnSpPr>
            <a:cxnSpLocks/>
          </p:cNvCxnSpPr>
          <p:nvPr/>
        </p:nvCxnSpPr>
        <p:spPr>
          <a:xfrm rot="5400000">
            <a:off x="7593061" y="2621043"/>
            <a:ext cx="3192579" cy="3049208"/>
          </a:xfrm>
          <a:prstGeom prst="bentConnector3">
            <a:avLst>
              <a:gd name="adj1" fmla="val 99677"/>
            </a:avLst>
          </a:prstGeom>
          <a:ln w="762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6574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6" name="Text Placeholder 4">
            <a:extLst>
              <a:ext uri="{FF2B5EF4-FFF2-40B4-BE49-F238E27FC236}">
                <a16:creationId xmlns:a16="http://schemas.microsoft.com/office/drawing/2014/main" id="{E017A7EE-A48E-438B-8D76-1AF8823F5C3E}"/>
              </a:ext>
            </a:extLst>
          </p:cNvPr>
          <p:cNvSpPr txBox="1">
            <a:spLocks/>
          </p:cNvSpPr>
          <p:nvPr/>
        </p:nvSpPr>
        <p:spPr>
          <a:xfrm>
            <a:off x="406721" y="1187938"/>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588"/>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Regressed Queries</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 this dashboard to review queries that might have regressed because of execution plan changes</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47097" y="3512948"/>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814579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fr-FR" dirty="0"/>
              <a:t>Lesson 1: SQL Server Plan Cache </a:t>
            </a:r>
            <a:endParaRPr lang="en-US" dirty="0"/>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47097" y="3900405"/>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89C1258D-94E7-401D-9140-E3879537D015}"/>
              </a:ext>
            </a:extLst>
          </p:cNvPr>
          <p:cNvSpPr txBox="1">
            <a:spLocks/>
          </p:cNvSpPr>
          <p:nvPr/>
        </p:nvSpPr>
        <p:spPr>
          <a:xfrm>
            <a:off x="429812" y="883438"/>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588"/>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Overall Resource Consumption</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 this dashboard to visualize overall resource consumption during the last month in four charts: duration, execution count, CPU time, and logical reads</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360886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47097" y="4273941"/>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34C55DBC-70EA-47F3-9D08-460718F60209}"/>
              </a:ext>
            </a:extLst>
          </p:cNvPr>
          <p:cNvSpPr txBox="1">
            <a:spLocks/>
          </p:cNvSpPr>
          <p:nvPr/>
        </p:nvSpPr>
        <p:spPr>
          <a:xfrm>
            <a:off x="481109" y="919650"/>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Top Resource Consuming Queries</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 this dashboard to review queries in the set of top 25 resource consumers during the last hour</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310456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56333" y="4658408"/>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F70A457D-0A6A-45D8-9CF6-D11273FAEAB1}"/>
              </a:ext>
            </a:extLst>
          </p:cNvPr>
          <p:cNvSpPr txBox="1">
            <a:spLocks/>
          </p:cNvSpPr>
          <p:nvPr/>
        </p:nvSpPr>
        <p:spPr>
          <a:xfrm>
            <a:off x="327695" y="986066"/>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Queries With Forced Plans</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d to isolate queries that have been given a forced plan. Requires SQL Server 2016 SP1 or later.</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326188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56333" y="5074041"/>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101D9539-8809-47E5-AE56-7B69D76BC7A1}"/>
              </a:ext>
            </a:extLst>
          </p:cNvPr>
          <p:cNvSpPr txBox="1">
            <a:spLocks/>
          </p:cNvSpPr>
          <p:nvPr/>
        </p:nvSpPr>
        <p:spPr>
          <a:xfrm>
            <a:off x="406721" y="937046"/>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Queries With High Variation</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d to locate queries with high variation in query execution. Useful to locate queries with parameterization problems. Requires SQL Server 2016 SP1 or later.</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760037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737860" y="5448114"/>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4">
            <a:extLst>
              <a:ext uri="{FF2B5EF4-FFF2-40B4-BE49-F238E27FC236}">
                <a16:creationId xmlns:a16="http://schemas.microsoft.com/office/drawing/2014/main" id="{101D9539-8809-47E5-AE56-7B69D76BC7A1}"/>
              </a:ext>
            </a:extLst>
          </p:cNvPr>
          <p:cNvSpPr txBox="1">
            <a:spLocks/>
          </p:cNvSpPr>
          <p:nvPr/>
        </p:nvSpPr>
        <p:spPr>
          <a:xfrm>
            <a:off x="406721" y="937046"/>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GB" sz="3200" b="1" i="0" u="none" strike="noStrike" kern="1200" cap="none" spc="0" normalizeH="0" baseline="0" noProof="0" dirty="0">
                <a:ln>
                  <a:noFill/>
                </a:ln>
                <a:solidFill>
                  <a:srgbClr val="000000"/>
                </a:solidFill>
                <a:effectLst/>
                <a:uLnTx/>
                <a:uFillTx/>
                <a:latin typeface="Segoe UI"/>
                <a:ea typeface="+mn-ea"/>
                <a:cs typeface="+mn-cs"/>
              </a:rPr>
              <a:t>Query Wait Statistics </a:t>
            </a:r>
            <a:r>
              <a:rPr kumimoji="0" lang="en-US" sz="3200" b="0" i="0" u="none" strike="noStrike" kern="1200" cap="none" spc="0" normalizeH="0" baseline="0" noProof="0" dirty="0">
                <a:ln>
                  <a:noFill/>
                </a:ln>
                <a:solidFill>
                  <a:srgbClr val="000000"/>
                </a:solidFill>
                <a:effectLst/>
                <a:uLnTx/>
                <a:uFillTx/>
                <a:latin typeface="Segoe UI"/>
                <a:ea typeface="+mn-ea"/>
                <a:cs typeface="+mn-cs"/>
              </a:rPr>
              <a:t>shows a bar chart containing the top wait categories in the Query Store. Use the drop down at the top to select an aggregate criteria for the wait time: avg, max, min, std dev, and </a:t>
            </a:r>
            <a:r>
              <a:rPr kumimoji="0" lang="en-US" sz="3200" b="1" i="0" u="none" strike="noStrike" kern="1200" cap="none" spc="0" normalizeH="0" baseline="0" noProof="0" dirty="0">
                <a:ln>
                  <a:noFill/>
                </a:ln>
                <a:solidFill>
                  <a:srgbClr val="000000"/>
                </a:solidFill>
                <a:effectLst/>
                <a:uLnTx/>
                <a:uFillTx/>
                <a:latin typeface="Segoe UI"/>
                <a:ea typeface="+mn-ea"/>
                <a:cs typeface="+mn-cs"/>
              </a:rPr>
              <a:t>total</a:t>
            </a:r>
            <a:r>
              <a:rPr kumimoji="0" lang="en-US" sz="3200" b="0" i="0" u="none" strike="noStrike" kern="1200" cap="none" spc="0" normalizeH="0" baseline="0" noProof="0" dirty="0">
                <a:ln>
                  <a:noFill/>
                </a:ln>
                <a:solidFill>
                  <a:srgbClr val="000000"/>
                </a:solidFill>
                <a:effectLst/>
                <a:uLnTx/>
                <a:uFillTx/>
                <a:latin typeface="Segoe UI"/>
                <a:ea typeface="+mn-ea"/>
                <a:cs typeface="+mn-cs"/>
              </a:rPr>
              <a:t> (default). </a:t>
            </a:r>
            <a:r>
              <a:rPr kumimoji="0" lang="en-GB" sz="3200" b="0" i="0" u="none" strike="noStrike" kern="1200" cap="none" spc="0" normalizeH="0" baseline="0" noProof="0" dirty="0">
                <a:ln>
                  <a:noFill/>
                </a:ln>
                <a:solidFill>
                  <a:srgbClr val="000000"/>
                </a:solidFill>
                <a:effectLst/>
                <a:uLnTx/>
                <a:uFillTx/>
                <a:latin typeface="Segoe UI"/>
                <a:ea typeface="+mn-ea"/>
                <a:cs typeface="+mn-cs"/>
              </a:rPr>
              <a:t>Requires SQL Server 2017.</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1543012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4BBEF3-9747-4B21-B3F5-AB1CD74D5CAC}"/>
              </a:ext>
            </a:extLst>
          </p:cNvPr>
          <p:cNvPicPr>
            <a:picLocks noChangeAspect="1"/>
          </p:cNvPicPr>
          <p:nvPr/>
        </p:nvPicPr>
        <p:blipFill>
          <a:blip r:embed="rId3"/>
          <a:stretch>
            <a:fillRect/>
          </a:stretch>
        </p:blipFill>
        <p:spPr>
          <a:xfrm>
            <a:off x="3063049" y="3054563"/>
            <a:ext cx="5809051" cy="3207691"/>
          </a:xfrm>
          <a:prstGeom prst="rect">
            <a:avLst/>
          </a:prstGeom>
        </p:spPr>
      </p:pic>
      <p:sp>
        <p:nvSpPr>
          <p:cNvPr id="3" name="Title 2"/>
          <p:cNvSpPr>
            <a:spLocks noGrp="1"/>
          </p:cNvSpPr>
          <p:nvPr>
            <p:ph type="title"/>
          </p:nvPr>
        </p:nvSpPr>
        <p:spPr>
          <a:xfrm>
            <a:off x="269238" y="174885"/>
            <a:ext cx="10972800" cy="474041"/>
          </a:xfrm>
        </p:spPr>
        <p:txBody>
          <a:bodyPr/>
          <a:lstStyle/>
          <a:p>
            <a:r>
              <a:rPr lang="en-US" sz="3200" dirty="0"/>
              <a:t>Query</a:t>
            </a:r>
            <a:r>
              <a:rPr lang="en-US" dirty="0"/>
              <a:t> </a:t>
            </a:r>
            <a:r>
              <a:rPr lang="en-US" sz="3200" dirty="0"/>
              <a:t>Store</a:t>
            </a:r>
            <a:r>
              <a:rPr lang="en-US" dirty="0"/>
              <a:t> </a:t>
            </a:r>
            <a:r>
              <a:rPr lang="en-US" sz="3200" dirty="0"/>
              <a:t>Reports</a:t>
            </a:r>
          </a:p>
        </p:txBody>
      </p:sp>
      <p:sp>
        <p:nvSpPr>
          <p:cNvPr id="8" name="Rectangle 7">
            <a:extLst>
              <a:ext uri="{FF2B5EF4-FFF2-40B4-BE49-F238E27FC236}">
                <a16:creationId xmlns:a16="http://schemas.microsoft.com/office/drawing/2014/main" id="{99D8CF5D-E81B-4B5D-8A94-636E3DDE81E5}"/>
              </a:ext>
            </a:extLst>
          </p:cNvPr>
          <p:cNvSpPr/>
          <p:nvPr/>
        </p:nvSpPr>
        <p:spPr bwMode="auto">
          <a:xfrm>
            <a:off x="3689161" y="5812950"/>
            <a:ext cx="4556826" cy="38446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89B30051-1443-4168-876F-6981B102E24C}"/>
              </a:ext>
            </a:extLst>
          </p:cNvPr>
          <p:cNvSpPr txBox="1">
            <a:spLocks/>
          </p:cNvSpPr>
          <p:nvPr/>
        </p:nvSpPr>
        <p:spPr>
          <a:xfrm>
            <a:off x="387823" y="1135288"/>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GB" sz="3600" b="1" i="0" u="none" strike="noStrike" kern="1200" cap="none" spc="0" normalizeH="0" baseline="0" noProof="0" dirty="0">
                <a:ln>
                  <a:noFill/>
                </a:ln>
                <a:solidFill>
                  <a:srgbClr val="000000"/>
                </a:solidFill>
                <a:effectLst/>
                <a:uLnTx/>
                <a:uFillTx/>
                <a:latin typeface="Segoe UI"/>
                <a:ea typeface="+mn-ea"/>
                <a:cs typeface="+mn-cs"/>
              </a:rPr>
              <a:t>Tracked Queries</a:t>
            </a:r>
            <a:r>
              <a:rPr kumimoji="0" lang="en-GB" sz="3600" b="0" i="0" u="none" strike="noStrike" kern="1200" cap="none" spc="0" normalizeH="0" baseline="0" noProof="0" dirty="0">
                <a:ln>
                  <a:noFill/>
                </a:ln>
                <a:solidFill>
                  <a:srgbClr val="000000"/>
                </a:solidFill>
                <a:effectLst/>
                <a:uLnTx/>
                <a:uFillTx/>
                <a:latin typeface="Segoe UI"/>
                <a:ea typeface="+mn-ea"/>
                <a:cs typeface="+mn-cs"/>
              </a:rPr>
              <a:t>:</a:t>
            </a:r>
            <a:r>
              <a:rPr kumimoji="0" lang="en-GB" sz="3600" b="1" i="0" u="none" strike="noStrike" kern="1200" cap="none" spc="0" normalizeH="0" baseline="0" noProof="0" dirty="0">
                <a:ln>
                  <a:noFill/>
                </a:ln>
                <a:solidFill>
                  <a:srgbClr val="000000"/>
                </a:solidFill>
                <a:effectLst/>
                <a:uLnTx/>
                <a:uFillTx/>
                <a:latin typeface="Segoe UI"/>
                <a:ea typeface="+mn-ea"/>
                <a:cs typeface="+mn-cs"/>
              </a:rPr>
              <a:t> </a:t>
            </a:r>
            <a:r>
              <a:rPr kumimoji="0" lang="en-GB" sz="3600" b="0" i="0" u="none" strike="noStrike" kern="1200" cap="none" spc="0" normalizeH="0" baseline="0" noProof="0" dirty="0">
                <a:ln>
                  <a:noFill/>
                </a:ln>
                <a:solidFill>
                  <a:srgbClr val="000000"/>
                </a:solidFill>
                <a:effectLst/>
                <a:uLnTx/>
                <a:uFillTx/>
                <a:latin typeface="Segoe UI"/>
                <a:ea typeface="+mn-ea"/>
                <a:cs typeface="+mn-cs"/>
              </a:rPr>
              <a:t>Use this dashboard to monitor the execution plans and regression of a specify query</a:t>
            </a:r>
            <a:endParaRPr kumimoji="0" lang="en-US" sz="3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605477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5585" y="201839"/>
            <a:ext cx="9337757" cy="474041"/>
          </a:xfrm>
        </p:spPr>
        <p:txBody>
          <a:bodyPr/>
          <a:lstStyle/>
          <a:p>
            <a:r>
              <a:rPr lang="en-GB" sz="3200" dirty="0"/>
              <a:t>Establishing</a:t>
            </a:r>
            <a:r>
              <a:rPr lang="en-GB" dirty="0"/>
              <a:t> </a:t>
            </a:r>
            <a:r>
              <a:rPr lang="en-GB" sz="3200" dirty="0"/>
              <a:t>a</a:t>
            </a:r>
            <a:r>
              <a:rPr lang="en-GB" dirty="0"/>
              <a:t> </a:t>
            </a:r>
            <a:r>
              <a:rPr lang="en-GB" sz="3200" dirty="0"/>
              <a:t>Baseline</a:t>
            </a:r>
            <a:r>
              <a:rPr lang="en-GB" dirty="0"/>
              <a:t> </a:t>
            </a:r>
          </a:p>
        </p:txBody>
      </p:sp>
      <p:pic>
        <p:nvPicPr>
          <p:cNvPr id="8" name="Picture 7">
            <a:extLst>
              <a:ext uri="{FF2B5EF4-FFF2-40B4-BE49-F238E27FC236}">
                <a16:creationId xmlns:a16="http://schemas.microsoft.com/office/drawing/2014/main" id="{7F5C294C-C83F-4B6F-937A-60D6209FB36E}"/>
              </a:ext>
            </a:extLst>
          </p:cNvPr>
          <p:cNvPicPr>
            <a:picLocks noChangeAspect="1"/>
          </p:cNvPicPr>
          <p:nvPr/>
        </p:nvPicPr>
        <p:blipFill>
          <a:blip r:embed="rId3"/>
          <a:stretch>
            <a:fillRect/>
          </a:stretch>
        </p:blipFill>
        <p:spPr>
          <a:xfrm>
            <a:off x="1778235" y="859804"/>
            <a:ext cx="8635530" cy="5388596"/>
          </a:xfrm>
          <a:prstGeom prst="rect">
            <a:avLst/>
          </a:prstGeom>
          <a:ln w="57150">
            <a:solidFill>
              <a:schemeClr val="tx1"/>
            </a:solidFill>
          </a:ln>
        </p:spPr>
      </p:pic>
    </p:spTree>
    <p:extLst>
      <p:ext uri="{BB962C8B-B14F-4D97-AF65-F5344CB8AC3E}">
        <p14:creationId xmlns:p14="http://schemas.microsoft.com/office/powerpoint/2010/main" val="6469355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2749" y="326530"/>
            <a:ext cx="9337757" cy="474041"/>
          </a:xfrm>
        </p:spPr>
        <p:txBody>
          <a:bodyPr/>
          <a:lstStyle/>
          <a:p>
            <a:r>
              <a:rPr lang="en-GB" sz="3200" dirty="0"/>
              <a:t>Force</a:t>
            </a:r>
            <a:r>
              <a:rPr lang="en-GB" dirty="0"/>
              <a:t> </a:t>
            </a:r>
            <a:r>
              <a:rPr lang="en-GB" sz="3200" dirty="0"/>
              <a:t>Plan</a:t>
            </a:r>
          </a:p>
        </p:txBody>
      </p:sp>
      <p:pic>
        <p:nvPicPr>
          <p:cNvPr id="8" name="Picture 7">
            <a:extLst>
              <a:ext uri="{FF2B5EF4-FFF2-40B4-BE49-F238E27FC236}">
                <a16:creationId xmlns:a16="http://schemas.microsoft.com/office/drawing/2014/main" id="{476E2281-765D-4487-A2DF-48D919B53348}"/>
              </a:ext>
            </a:extLst>
          </p:cNvPr>
          <p:cNvPicPr>
            <a:picLocks noChangeAspect="1"/>
          </p:cNvPicPr>
          <p:nvPr/>
        </p:nvPicPr>
        <p:blipFill>
          <a:blip r:embed="rId3"/>
          <a:stretch>
            <a:fillRect/>
          </a:stretch>
        </p:blipFill>
        <p:spPr>
          <a:xfrm>
            <a:off x="642749" y="1638102"/>
            <a:ext cx="10943920" cy="3852916"/>
          </a:xfrm>
          <a:prstGeom prst="rect">
            <a:avLst/>
          </a:prstGeom>
          <a:ln w="57150">
            <a:solidFill>
              <a:schemeClr val="accent5">
                <a:lumMod val="50000"/>
              </a:schemeClr>
            </a:solidFill>
          </a:ln>
          <a:effectLst>
            <a:outerShdw blurRad="50800" dist="38100" dir="5400000" algn="t" rotWithShape="0">
              <a:prstClr val="black">
                <a:alpha val="40000"/>
              </a:prstClr>
            </a:outerShdw>
          </a:effectLst>
        </p:spPr>
      </p:pic>
      <p:sp>
        <p:nvSpPr>
          <p:cNvPr id="9" name="Oval 8">
            <a:extLst>
              <a:ext uri="{FF2B5EF4-FFF2-40B4-BE49-F238E27FC236}">
                <a16:creationId xmlns:a16="http://schemas.microsoft.com/office/drawing/2014/main" id="{2D9D6758-6952-44C1-BF70-76D6636EACA4}"/>
              </a:ext>
            </a:extLst>
          </p:cNvPr>
          <p:cNvSpPr/>
          <p:nvPr/>
        </p:nvSpPr>
        <p:spPr>
          <a:xfrm>
            <a:off x="6266873" y="1366982"/>
            <a:ext cx="1339273" cy="899537"/>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9">
            <a:extLst>
              <a:ext uri="{FF2B5EF4-FFF2-40B4-BE49-F238E27FC236}">
                <a16:creationId xmlns:a16="http://schemas.microsoft.com/office/drawing/2014/main" id="{B3287310-9A30-4302-97D2-AF144A187555}"/>
              </a:ext>
            </a:extLst>
          </p:cNvPr>
          <p:cNvSpPr/>
          <p:nvPr/>
        </p:nvSpPr>
        <p:spPr>
          <a:xfrm>
            <a:off x="7167418" y="4320361"/>
            <a:ext cx="3094182" cy="899537"/>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Oval 10">
            <a:extLst>
              <a:ext uri="{FF2B5EF4-FFF2-40B4-BE49-F238E27FC236}">
                <a16:creationId xmlns:a16="http://schemas.microsoft.com/office/drawing/2014/main" id="{D8D35513-9B2D-4D2B-BED2-AA3372F6E735}"/>
              </a:ext>
            </a:extLst>
          </p:cNvPr>
          <p:cNvSpPr/>
          <p:nvPr/>
        </p:nvSpPr>
        <p:spPr>
          <a:xfrm>
            <a:off x="10571018" y="3680691"/>
            <a:ext cx="840509" cy="332509"/>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8057313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2749" y="326530"/>
            <a:ext cx="9337757" cy="474041"/>
          </a:xfrm>
        </p:spPr>
        <p:txBody>
          <a:bodyPr/>
          <a:lstStyle/>
          <a:p>
            <a:r>
              <a:rPr lang="en-GB" sz="3200" dirty="0"/>
              <a:t>Plan</a:t>
            </a:r>
            <a:r>
              <a:rPr lang="en-GB" dirty="0"/>
              <a:t> </a:t>
            </a:r>
            <a:r>
              <a:rPr lang="en-GB" sz="3200" dirty="0"/>
              <a:t>Compare</a:t>
            </a:r>
            <a:r>
              <a:rPr lang="en-GB" dirty="0"/>
              <a:t> </a:t>
            </a:r>
          </a:p>
        </p:txBody>
      </p:sp>
      <p:pic>
        <p:nvPicPr>
          <p:cNvPr id="6" name="Picture 5" descr="A screenshot of a cell phone&#10;&#10;Description automatically generated">
            <a:extLst>
              <a:ext uri="{FF2B5EF4-FFF2-40B4-BE49-F238E27FC236}">
                <a16:creationId xmlns:a16="http://schemas.microsoft.com/office/drawing/2014/main" id="{3AECECC9-6563-4077-8C8B-37FB5AB77E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9919" y="1096758"/>
            <a:ext cx="9912161" cy="49899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3440902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81126" y="141473"/>
            <a:ext cx="10972800" cy="474041"/>
          </a:xfrm>
        </p:spPr>
        <p:txBody>
          <a:bodyPr/>
          <a:lstStyle/>
          <a:p>
            <a:r>
              <a:rPr lang="en-US" sz="3200" dirty="0"/>
              <a:t>Query</a:t>
            </a:r>
            <a:r>
              <a:rPr lang="en-US" dirty="0"/>
              <a:t> </a:t>
            </a:r>
            <a:r>
              <a:rPr lang="en-US" sz="3200" dirty="0"/>
              <a:t>Store</a:t>
            </a:r>
            <a:r>
              <a:rPr lang="en-US" dirty="0"/>
              <a:t> </a:t>
            </a:r>
            <a:r>
              <a:rPr lang="en-US" sz="3200" dirty="0"/>
              <a:t>Catalog</a:t>
            </a:r>
            <a:r>
              <a:rPr lang="en-US" dirty="0"/>
              <a:t> </a:t>
            </a:r>
            <a:r>
              <a:rPr lang="en-US" sz="3200" dirty="0"/>
              <a:t>Views</a:t>
            </a:r>
          </a:p>
        </p:txBody>
      </p:sp>
      <p:sp>
        <p:nvSpPr>
          <p:cNvPr id="2" name="TextBox 1">
            <a:extLst>
              <a:ext uri="{FF2B5EF4-FFF2-40B4-BE49-F238E27FC236}">
                <a16:creationId xmlns:a16="http://schemas.microsoft.com/office/drawing/2014/main" id="{33EF1388-795C-4839-977B-ED7ECAA9245A}"/>
              </a:ext>
            </a:extLst>
          </p:cNvPr>
          <p:cNvSpPr txBox="1"/>
          <p:nvPr/>
        </p:nvSpPr>
        <p:spPr>
          <a:xfrm>
            <a:off x="511354" y="1087120"/>
            <a:ext cx="3495040" cy="21234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aphicFrame>
        <p:nvGraphicFramePr>
          <p:cNvPr id="3" name="Table 4">
            <a:extLst>
              <a:ext uri="{FF2B5EF4-FFF2-40B4-BE49-F238E27FC236}">
                <a16:creationId xmlns:a16="http://schemas.microsoft.com/office/drawing/2014/main" id="{E14A067A-C5BA-42FF-8C2C-97488523FD9E}"/>
              </a:ext>
            </a:extLst>
          </p:cNvPr>
          <p:cNvGraphicFramePr>
            <a:graphicFrameLocks noGrp="1"/>
          </p:cNvGraphicFramePr>
          <p:nvPr/>
        </p:nvGraphicFramePr>
        <p:xfrm>
          <a:off x="511354" y="870453"/>
          <a:ext cx="3291840" cy="111252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dirty="0"/>
                        <a:t>sys.query_store_query_text</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dirty="0"/>
                    </a:p>
                  </a:txBody>
                  <a:tcPr/>
                </a:tc>
                <a:tc>
                  <a:txBody>
                    <a:bodyPr/>
                    <a:lstStyle/>
                    <a:p>
                      <a:r>
                        <a:rPr lang="en-US" dirty="0" err="1"/>
                        <a:t>query_text_id</a:t>
                      </a:r>
                      <a:endParaRPr lang="en-US" dirty="0"/>
                    </a:p>
                  </a:txBody>
                  <a:tcPr/>
                </a:tc>
                <a:extLst>
                  <a:ext uri="{0D108BD9-81ED-4DB2-BD59-A6C34878D82A}">
                    <a16:rowId xmlns:a16="http://schemas.microsoft.com/office/drawing/2014/main" val="307653851"/>
                  </a:ext>
                </a:extLst>
              </a:tr>
              <a:tr h="370840">
                <a:tc>
                  <a:txBody>
                    <a:bodyPr/>
                    <a:lstStyle/>
                    <a:p>
                      <a:endParaRPr lang="en-US"/>
                    </a:p>
                  </a:txBody>
                  <a:tcPr/>
                </a:tc>
                <a:tc>
                  <a:txBody>
                    <a:bodyPr/>
                    <a:lstStyle/>
                    <a:p>
                      <a:r>
                        <a:rPr lang="en-US" dirty="0" err="1"/>
                        <a:t>query_sql_text</a:t>
                      </a:r>
                      <a:endParaRPr lang="en-US" dirty="0"/>
                    </a:p>
                  </a:txBody>
                  <a:tcPr/>
                </a:tc>
                <a:extLst>
                  <a:ext uri="{0D108BD9-81ED-4DB2-BD59-A6C34878D82A}">
                    <a16:rowId xmlns:a16="http://schemas.microsoft.com/office/drawing/2014/main" val="1579922997"/>
                  </a:ext>
                </a:extLst>
              </a:tr>
            </a:tbl>
          </a:graphicData>
        </a:graphic>
      </p:graphicFrame>
      <p:sp>
        <p:nvSpPr>
          <p:cNvPr id="11" name="Graphic 6" descr="Key with solid fill">
            <a:extLst>
              <a:ext uri="{FF2B5EF4-FFF2-40B4-BE49-F238E27FC236}">
                <a16:creationId xmlns:a16="http://schemas.microsoft.com/office/drawing/2014/main" id="{6E62F4DE-6BE4-4F38-9052-44AE7DA2812E}"/>
              </a:ext>
            </a:extLst>
          </p:cNvPr>
          <p:cNvSpPr/>
          <p:nvPr/>
        </p:nvSpPr>
        <p:spPr>
          <a:xfrm>
            <a:off x="640438" y="131908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13" name="Table 4">
            <a:extLst>
              <a:ext uri="{FF2B5EF4-FFF2-40B4-BE49-F238E27FC236}">
                <a16:creationId xmlns:a16="http://schemas.microsoft.com/office/drawing/2014/main" id="{67D3F5A5-17AA-45C5-BD48-CCF585BE782A}"/>
              </a:ext>
            </a:extLst>
          </p:cNvPr>
          <p:cNvGraphicFramePr>
            <a:graphicFrameLocks noGrp="1"/>
          </p:cNvGraphicFramePr>
          <p:nvPr/>
        </p:nvGraphicFramePr>
        <p:xfrm>
          <a:off x="4463594" y="870453"/>
          <a:ext cx="3291840" cy="148336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store_query</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query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query_text_id</a:t>
                      </a:r>
                      <a:endParaRPr lang="en-US" sz="1800" dirty="0"/>
                    </a:p>
                  </a:txBody>
                  <a:tcPr/>
                </a:tc>
                <a:extLst>
                  <a:ext uri="{0D108BD9-81ED-4DB2-BD59-A6C34878D82A}">
                    <a16:rowId xmlns:a16="http://schemas.microsoft.com/office/drawing/2014/main" val="1579922997"/>
                  </a:ext>
                </a:extLst>
              </a:tr>
              <a:tr h="370840">
                <a:tc>
                  <a:txBody>
                    <a:bodyPr/>
                    <a:lstStyle/>
                    <a:p>
                      <a:endParaRPr lang="en-US" sz="1800" dirty="0"/>
                    </a:p>
                  </a:txBody>
                  <a:tcPr/>
                </a:tc>
                <a:tc>
                  <a:txBody>
                    <a:bodyPr/>
                    <a:lstStyle/>
                    <a:p>
                      <a:r>
                        <a:rPr lang="en-US" sz="1800" dirty="0" err="1"/>
                        <a:t>context_settings_id</a:t>
                      </a:r>
                      <a:endParaRPr lang="en-US" sz="1800" dirty="0"/>
                    </a:p>
                  </a:txBody>
                  <a:tcPr/>
                </a:tc>
                <a:extLst>
                  <a:ext uri="{0D108BD9-81ED-4DB2-BD59-A6C34878D82A}">
                    <a16:rowId xmlns:a16="http://schemas.microsoft.com/office/drawing/2014/main" val="1482854906"/>
                  </a:ext>
                </a:extLst>
              </a:tr>
            </a:tbl>
          </a:graphicData>
        </a:graphic>
      </p:graphicFrame>
      <p:sp>
        <p:nvSpPr>
          <p:cNvPr id="15" name="Graphic 6" descr="Key with solid fill">
            <a:extLst>
              <a:ext uri="{FF2B5EF4-FFF2-40B4-BE49-F238E27FC236}">
                <a16:creationId xmlns:a16="http://schemas.microsoft.com/office/drawing/2014/main" id="{3DD499D2-5F03-40AF-AB28-4626F5658B10}"/>
              </a:ext>
            </a:extLst>
          </p:cNvPr>
          <p:cNvSpPr/>
          <p:nvPr/>
        </p:nvSpPr>
        <p:spPr>
          <a:xfrm>
            <a:off x="4592678" y="131908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18" name="Table 4">
            <a:extLst>
              <a:ext uri="{FF2B5EF4-FFF2-40B4-BE49-F238E27FC236}">
                <a16:creationId xmlns:a16="http://schemas.microsoft.com/office/drawing/2014/main" id="{4E5A852E-0F08-4685-B9C7-47919F7E9F99}"/>
              </a:ext>
            </a:extLst>
          </p:cNvPr>
          <p:cNvGraphicFramePr>
            <a:graphicFrameLocks noGrp="1"/>
          </p:cNvGraphicFramePr>
          <p:nvPr/>
        </p:nvGraphicFramePr>
        <p:xfrm>
          <a:off x="8324394" y="870453"/>
          <a:ext cx="3291840" cy="111252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store_plan</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307653851"/>
                  </a:ext>
                </a:extLst>
              </a:tr>
              <a:tr h="370840">
                <a:tc>
                  <a:txBody>
                    <a:bodyPr/>
                    <a:lstStyle/>
                    <a:p>
                      <a:endParaRPr lang="en-US" sz="1800"/>
                    </a:p>
                  </a:txBody>
                  <a:tcPr/>
                </a:tc>
                <a:tc>
                  <a:txBody>
                    <a:bodyPr/>
                    <a:lstStyle/>
                    <a:p>
                      <a:r>
                        <a:rPr lang="en-US" sz="1800" dirty="0" err="1"/>
                        <a:t>query__id</a:t>
                      </a:r>
                      <a:endParaRPr lang="en-US" sz="1800" dirty="0"/>
                    </a:p>
                  </a:txBody>
                  <a:tcPr/>
                </a:tc>
                <a:extLst>
                  <a:ext uri="{0D108BD9-81ED-4DB2-BD59-A6C34878D82A}">
                    <a16:rowId xmlns:a16="http://schemas.microsoft.com/office/drawing/2014/main" val="1579922997"/>
                  </a:ext>
                </a:extLst>
              </a:tr>
            </a:tbl>
          </a:graphicData>
        </a:graphic>
      </p:graphicFrame>
      <p:sp>
        <p:nvSpPr>
          <p:cNvPr id="20" name="Graphic 6" descr="Key with solid fill">
            <a:extLst>
              <a:ext uri="{FF2B5EF4-FFF2-40B4-BE49-F238E27FC236}">
                <a16:creationId xmlns:a16="http://schemas.microsoft.com/office/drawing/2014/main" id="{D67D5A25-5C14-4002-AE18-FCEFB5ED2AE9}"/>
              </a:ext>
            </a:extLst>
          </p:cNvPr>
          <p:cNvSpPr/>
          <p:nvPr/>
        </p:nvSpPr>
        <p:spPr>
          <a:xfrm>
            <a:off x="8476794" y="1324412"/>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22" name="Table 4">
            <a:extLst>
              <a:ext uri="{FF2B5EF4-FFF2-40B4-BE49-F238E27FC236}">
                <a16:creationId xmlns:a16="http://schemas.microsoft.com/office/drawing/2014/main" id="{9C687EF6-AAC7-4CAB-A2C0-D7F8A3EE342D}"/>
              </a:ext>
            </a:extLst>
          </p:cNvPr>
          <p:cNvGraphicFramePr>
            <a:graphicFrameLocks noGrp="1"/>
          </p:cNvGraphicFramePr>
          <p:nvPr/>
        </p:nvGraphicFramePr>
        <p:xfrm>
          <a:off x="511354" y="2341880"/>
          <a:ext cx="3291840" cy="74168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context_settings</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context_settings_id</a:t>
                      </a:r>
                      <a:endParaRPr lang="en-US" sz="1800" dirty="0"/>
                    </a:p>
                  </a:txBody>
                  <a:tcPr/>
                </a:tc>
                <a:extLst>
                  <a:ext uri="{0D108BD9-81ED-4DB2-BD59-A6C34878D82A}">
                    <a16:rowId xmlns:a16="http://schemas.microsoft.com/office/drawing/2014/main" val="307653851"/>
                  </a:ext>
                </a:extLst>
              </a:tr>
            </a:tbl>
          </a:graphicData>
        </a:graphic>
      </p:graphicFrame>
      <p:sp>
        <p:nvSpPr>
          <p:cNvPr id="24" name="Graphic 6" descr="Key with solid fill">
            <a:extLst>
              <a:ext uri="{FF2B5EF4-FFF2-40B4-BE49-F238E27FC236}">
                <a16:creationId xmlns:a16="http://schemas.microsoft.com/office/drawing/2014/main" id="{F27A92E1-0810-4500-9E12-275EF5CBE720}"/>
              </a:ext>
            </a:extLst>
          </p:cNvPr>
          <p:cNvSpPr/>
          <p:nvPr/>
        </p:nvSpPr>
        <p:spPr>
          <a:xfrm>
            <a:off x="663754" y="2795839"/>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26" name="Table 4">
            <a:extLst>
              <a:ext uri="{FF2B5EF4-FFF2-40B4-BE49-F238E27FC236}">
                <a16:creationId xmlns:a16="http://schemas.microsoft.com/office/drawing/2014/main" id="{BF3D743A-A795-4736-AC3C-89C9316C2E85}"/>
              </a:ext>
            </a:extLst>
          </p:cNvPr>
          <p:cNvGraphicFramePr>
            <a:graphicFrameLocks noGrp="1"/>
          </p:cNvGraphicFramePr>
          <p:nvPr/>
        </p:nvGraphicFramePr>
        <p:xfrm>
          <a:off x="4352380" y="2975764"/>
          <a:ext cx="3586480" cy="1107440"/>
        </p:xfrm>
        <a:graphic>
          <a:graphicData uri="http://schemas.openxmlformats.org/drawingml/2006/table">
            <a:tbl>
              <a:tblPr firstRow="1" bandRow="1">
                <a:tableStyleId>{00A15C55-8517-42AA-B614-E9B94910E393}</a:tableStyleId>
              </a:tblPr>
              <a:tblGrid>
                <a:gridCol w="741649">
                  <a:extLst>
                    <a:ext uri="{9D8B030D-6E8A-4147-A177-3AD203B41FA5}">
                      <a16:colId xmlns:a16="http://schemas.microsoft.com/office/drawing/2014/main" val="2795158374"/>
                    </a:ext>
                  </a:extLst>
                </a:gridCol>
                <a:gridCol w="2844831">
                  <a:extLst>
                    <a:ext uri="{9D8B030D-6E8A-4147-A177-3AD203B41FA5}">
                      <a16:colId xmlns:a16="http://schemas.microsoft.com/office/drawing/2014/main" val="1446990213"/>
                    </a:ext>
                  </a:extLst>
                </a:gridCol>
              </a:tblGrid>
              <a:tr h="370840">
                <a:tc gridSpan="2">
                  <a:txBody>
                    <a:bodyPr/>
                    <a:lstStyle/>
                    <a:p>
                      <a:pPr algn="ctr"/>
                      <a:r>
                        <a:rPr lang="en-US" sz="1800" dirty="0"/>
                        <a:t>sys.query_store_runtime_stats</a:t>
                      </a:r>
                    </a:p>
                  </a:txBody>
                  <a:tcPr/>
                </a:tc>
                <a:tc hMerge="1">
                  <a:txBody>
                    <a:bodyPr/>
                    <a:lstStyle/>
                    <a:p>
                      <a:endParaRPr lang="en-US" dirty="0"/>
                    </a:p>
                  </a:txBody>
                  <a:tcPr/>
                </a:tc>
                <a:extLst>
                  <a:ext uri="{0D108BD9-81ED-4DB2-BD59-A6C34878D82A}">
                    <a16:rowId xmlns:a16="http://schemas.microsoft.com/office/drawing/2014/main" val="981022766"/>
                  </a:ext>
                </a:extLst>
              </a:tr>
              <a:tr h="270356">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307653851"/>
                  </a:ext>
                </a:extLst>
              </a:tr>
              <a:tr h="370840">
                <a:tc>
                  <a:txBody>
                    <a:bodyPr/>
                    <a:lstStyle/>
                    <a:p>
                      <a:endParaRPr lang="en-US" sz="180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1579922997"/>
                  </a:ext>
                </a:extLst>
              </a:tr>
            </a:tbl>
          </a:graphicData>
        </a:graphic>
      </p:graphicFrame>
      <p:sp>
        <p:nvSpPr>
          <p:cNvPr id="28" name="Graphic 6" descr="Key with solid fill">
            <a:extLst>
              <a:ext uri="{FF2B5EF4-FFF2-40B4-BE49-F238E27FC236}">
                <a16:creationId xmlns:a16="http://schemas.microsoft.com/office/drawing/2014/main" id="{87F140C2-3F17-40AB-94C1-435594855AA3}"/>
              </a:ext>
            </a:extLst>
          </p:cNvPr>
          <p:cNvSpPr/>
          <p:nvPr/>
        </p:nvSpPr>
        <p:spPr>
          <a:xfrm>
            <a:off x="4473754" y="343525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30" name="Table 4">
            <a:extLst>
              <a:ext uri="{FF2B5EF4-FFF2-40B4-BE49-F238E27FC236}">
                <a16:creationId xmlns:a16="http://schemas.microsoft.com/office/drawing/2014/main" id="{036229D9-8A71-4C2A-B234-7D36471D9BBE}"/>
              </a:ext>
            </a:extLst>
          </p:cNvPr>
          <p:cNvGraphicFramePr>
            <a:graphicFrameLocks noGrp="1"/>
          </p:cNvGraphicFramePr>
          <p:nvPr/>
        </p:nvGraphicFramePr>
        <p:xfrm>
          <a:off x="8324394" y="2732306"/>
          <a:ext cx="3586480" cy="1483360"/>
        </p:xfrm>
        <a:graphic>
          <a:graphicData uri="http://schemas.openxmlformats.org/drawingml/2006/table">
            <a:tbl>
              <a:tblPr firstRow="1" bandRow="1">
                <a:tableStyleId>{00A15C55-8517-42AA-B614-E9B94910E393}</a:tableStyleId>
              </a:tblPr>
              <a:tblGrid>
                <a:gridCol w="741649">
                  <a:extLst>
                    <a:ext uri="{9D8B030D-6E8A-4147-A177-3AD203B41FA5}">
                      <a16:colId xmlns:a16="http://schemas.microsoft.com/office/drawing/2014/main" val="2795158374"/>
                    </a:ext>
                  </a:extLst>
                </a:gridCol>
                <a:gridCol w="2844831">
                  <a:extLst>
                    <a:ext uri="{9D8B030D-6E8A-4147-A177-3AD203B41FA5}">
                      <a16:colId xmlns:a16="http://schemas.microsoft.com/office/drawing/2014/main" val="1446990213"/>
                    </a:ext>
                  </a:extLst>
                </a:gridCol>
              </a:tblGrid>
              <a:tr h="370840">
                <a:tc gridSpan="2">
                  <a:txBody>
                    <a:bodyPr/>
                    <a:lstStyle/>
                    <a:p>
                      <a:pPr algn="ctr"/>
                      <a:r>
                        <a:rPr lang="en-US" sz="1800" dirty="0"/>
                        <a:t>sys.query_store_wait_stats</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waits_stats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1579922997"/>
                  </a:ext>
                </a:extLst>
              </a:tr>
              <a:tr h="370840">
                <a:tc>
                  <a:txBody>
                    <a:bodyPr/>
                    <a:lstStyle/>
                    <a:p>
                      <a:endParaRPr lang="en-US" sz="180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3439171611"/>
                  </a:ext>
                </a:extLst>
              </a:tr>
            </a:tbl>
          </a:graphicData>
        </a:graphic>
      </p:graphicFrame>
      <p:sp>
        <p:nvSpPr>
          <p:cNvPr id="32" name="Graphic 6" descr="Key with solid fill">
            <a:extLst>
              <a:ext uri="{FF2B5EF4-FFF2-40B4-BE49-F238E27FC236}">
                <a16:creationId xmlns:a16="http://schemas.microsoft.com/office/drawing/2014/main" id="{4AAB5E85-9238-43D5-A3EE-2776F3CD22D5}"/>
              </a:ext>
            </a:extLst>
          </p:cNvPr>
          <p:cNvSpPr/>
          <p:nvPr/>
        </p:nvSpPr>
        <p:spPr>
          <a:xfrm>
            <a:off x="8476794" y="3186265"/>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34" name="Table 4">
            <a:extLst>
              <a:ext uri="{FF2B5EF4-FFF2-40B4-BE49-F238E27FC236}">
                <a16:creationId xmlns:a16="http://schemas.microsoft.com/office/drawing/2014/main" id="{A8F3D452-ECCD-443A-9622-21F01C523ED9}"/>
              </a:ext>
            </a:extLst>
          </p:cNvPr>
          <p:cNvGraphicFramePr>
            <a:graphicFrameLocks noGrp="1"/>
          </p:cNvGraphicFramePr>
          <p:nvPr/>
        </p:nvGraphicFramePr>
        <p:xfrm>
          <a:off x="6030774" y="4588708"/>
          <a:ext cx="4396740" cy="1483360"/>
        </p:xfrm>
        <a:graphic>
          <a:graphicData uri="http://schemas.openxmlformats.org/drawingml/2006/table">
            <a:tbl>
              <a:tblPr firstRow="1" bandRow="1">
                <a:tableStyleId>{00A15C55-8517-42AA-B614-E9B94910E393}</a:tableStyleId>
              </a:tblPr>
              <a:tblGrid>
                <a:gridCol w="747397">
                  <a:extLst>
                    <a:ext uri="{9D8B030D-6E8A-4147-A177-3AD203B41FA5}">
                      <a16:colId xmlns:a16="http://schemas.microsoft.com/office/drawing/2014/main" val="2795158374"/>
                    </a:ext>
                  </a:extLst>
                </a:gridCol>
                <a:gridCol w="3649343">
                  <a:extLst>
                    <a:ext uri="{9D8B030D-6E8A-4147-A177-3AD203B41FA5}">
                      <a16:colId xmlns:a16="http://schemas.microsoft.com/office/drawing/2014/main" val="1446990213"/>
                    </a:ext>
                  </a:extLst>
                </a:gridCol>
              </a:tblGrid>
              <a:tr h="370840">
                <a:tc gridSpan="2">
                  <a:txBody>
                    <a:bodyPr/>
                    <a:lstStyle/>
                    <a:p>
                      <a:pPr algn="ctr"/>
                      <a:r>
                        <a:rPr lang="en-US" sz="1800" dirty="0"/>
                        <a:t>sys.query_store_runtime_stats_interval</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start_time</a:t>
                      </a:r>
                      <a:endParaRPr lang="en-US" sz="1800" dirty="0"/>
                    </a:p>
                  </a:txBody>
                  <a:tcPr/>
                </a:tc>
                <a:extLst>
                  <a:ext uri="{0D108BD9-81ED-4DB2-BD59-A6C34878D82A}">
                    <a16:rowId xmlns:a16="http://schemas.microsoft.com/office/drawing/2014/main" val="1579922997"/>
                  </a:ext>
                </a:extLst>
              </a:tr>
              <a:tr h="370840">
                <a:tc>
                  <a:txBody>
                    <a:bodyPr/>
                    <a:lstStyle/>
                    <a:p>
                      <a:endParaRPr lang="en-US" sz="1800"/>
                    </a:p>
                  </a:txBody>
                  <a:tcPr/>
                </a:tc>
                <a:tc>
                  <a:txBody>
                    <a:bodyPr/>
                    <a:lstStyle/>
                    <a:p>
                      <a:r>
                        <a:rPr lang="en-US" sz="1800" dirty="0" err="1"/>
                        <a:t>End_time</a:t>
                      </a:r>
                      <a:endParaRPr lang="en-US" sz="1800" dirty="0"/>
                    </a:p>
                  </a:txBody>
                  <a:tcPr/>
                </a:tc>
                <a:extLst>
                  <a:ext uri="{0D108BD9-81ED-4DB2-BD59-A6C34878D82A}">
                    <a16:rowId xmlns:a16="http://schemas.microsoft.com/office/drawing/2014/main" val="3439171611"/>
                  </a:ext>
                </a:extLst>
              </a:tr>
            </a:tbl>
          </a:graphicData>
        </a:graphic>
      </p:graphicFrame>
      <p:sp>
        <p:nvSpPr>
          <p:cNvPr id="36" name="Graphic 6" descr="Key with solid fill">
            <a:extLst>
              <a:ext uri="{FF2B5EF4-FFF2-40B4-BE49-F238E27FC236}">
                <a16:creationId xmlns:a16="http://schemas.microsoft.com/office/drawing/2014/main" id="{CA859494-ACFF-4721-834E-1121DCA981E1}"/>
              </a:ext>
            </a:extLst>
          </p:cNvPr>
          <p:cNvSpPr/>
          <p:nvPr/>
        </p:nvSpPr>
        <p:spPr>
          <a:xfrm>
            <a:off x="6226354" y="5042667"/>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24E0AB23-62E3-43EB-A21F-FDA032AA6892}"/>
              </a:ext>
            </a:extLst>
          </p:cNvPr>
          <p:cNvSpPr txBox="1"/>
          <p:nvPr/>
        </p:nvSpPr>
        <p:spPr>
          <a:xfrm>
            <a:off x="830580" y="3800167"/>
            <a:ext cx="2667814" cy="83099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n-ea"/>
                <a:cs typeface="+mn-cs"/>
              </a:rPr>
              <a:t>Query Store Information</a:t>
            </a:r>
          </a:p>
        </p:txBody>
      </p:sp>
      <p:sp>
        <p:nvSpPr>
          <p:cNvPr id="39" name="TextBox 38">
            <a:extLst>
              <a:ext uri="{FF2B5EF4-FFF2-40B4-BE49-F238E27FC236}">
                <a16:creationId xmlns:a16="http://schemas.microsoft.com/office/drawing/2014/main" id="{655CDC87-71D1-43E6-BE51-4C6E346B444A}"/>
              </a:ext>
            </a:extLst>
          </p:cNvPr>
          <p:cNvSpPr txBox="1"/>
          <p:nvPr/>
        </p:nvSpPr>
        <p:spPr>
          <a:xfrm>
            <a:off x="811986" y="4878277"/>
            <a:ext cx="2667814" cy="830997"/>
          </a:xfrm>
          <a:prstGeom prst="rect">
            <a:avLst/>
          </a:prstGeom>
          <a:solidFill>
            <a:schemeClr val="accent4"/>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n-ea"/>
                <a:cs typeface="+mn-cs"/>
              </a:rPr>
              <a:t>Compile Time Information</a:t>
            </a:r>
          </a:p>
        </p:txBody>
      </p:sp>
      <p:cxnSp>
        <p:nvCxnSpPr>
          <p:cNvPr id="41" name="Connector: Elbow 40">
            <a:extLst>
              <a:ext uri="{FF2B5EF4-FFF2-40B4-BE49-F238E27FC236}">
                <a16:creationId xmlns:a16="http://schemas.microsoft.com/office/drawing/2014/main" id="{F18FBD71-E38E-4AF7-A270-88C4ED5165CC}"/>
              </a:ext>
            </a:extLst>
          </p:cNvPr>
          <p:cNvCxnSpPr>
            <a:cxnSpLocks/>
          </p:cNvCxnSpPr>
          <p:nvPr/>
        </p:nvCxnSpPr>
        <p:spPr>
          <a:xfrm>
            <a:off x="3498394" y="1422400"/>
            <a:ext cx="1188720" cy="396240"/>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4FDE86F0-934B-4501-99A6-D15B4A5E7DFF}"/>
              </a:ext>
            </a:extLst>
          </p:cNvPr>
          <p:cNvCxnSpPr>
            <a:cxnSpLocks/>
          </p:cNvCxnSpPr>
          <p:nvPr/>
        </p:nvCxnSpPr>
        <p:spPr>
          <a:xfrm flipV="1">
            <a:off x="3569832" y="2177549"/>
            <a:ext cx="1113472" cy="737312"/>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A6629526-8D65-45A1-9355-53BAC384770D}"/>
              </a:ext>
            </a:extLst>
          </p:cNvPr>
          <p:cNvCxnSpPr>
            <a:cxnSpLocks/>
          </p:cNvCxnSpPr>
          <p:nvPr/>
        </p:nvCxnSpPr>
        <p:spPr>
          <a:xfrm>
            <a:off x="7344182" y="1431694"/>
            <a:ext cx="1188720" cy="396240"/>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2F873D41-5493-4A58-BD4F-277927D8FCFD}"/>
              </a:ext>
            </a:extLst>
          </p:cNvPr>
          <p:cNvCxnSpPr>
            <a:cxnSpLocks/>
            <a:stCxn id="18" idx="3"/>
          </p:cNvCxnSpPr>
          <p:nvPr/>
        </p:nvCxnSpPr>
        <p:spPr>
          <a:xfrm flipH="1">
            <a:off x="11370400" y="1426713"/>
            <a:ext cx="245834" cy="2281686"/>
          </a:xfrm>
          <a:prstGeom prst="bentConnector4">
            <a:avLst>
              <a:gd name="adj1" fmla="val -159116"/>
              <a:gd name="adj2" fmla="val 100039"/>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DA858DF6-6240-4C44-8EF1-F08447C75F6F}"/>
              </a:ext>
            </a:extLst>
          </p:cNvPr>
          <p:cNvCxnSpPr>
            <a:cxnSpLocks/>
            <a:stCxn id="18" idx="1"/>
            <a:endCxn id="26" idx="3"/>
          </p:cNvCxnSpPr>
          <p:nvPr/>
        </p:nvCxnSpPr>
        <p:spPr>
          <a:xfrm rot="10800000" flipV="1">
            <a:off x="7938860" y="1426712"/>
            <a:ext cx="385534" cy="2102771"/>
          </a:xfrm>
          <a:prstGeom prst="bentConnector3">
            <a:avLst>
              <a:gd name="adj1" fmla="val 50000"/>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112963D2-B81A-437C-974E-3D83FCB50D98}"/>
              </a:ext>
            </a:extLst>
          </p:cNvPr>
          <p:cNvCxnSpPr>
            <a:cxnSpLocks/>
          </p:cNvCxnSpPr>
          <p:nvPr/>
        </p:nvCxnSpPr>
        <p:spPr>
          <a:xfrm rot="10800000" flipV="1">
            <a:off x="9949994" y="4081441"/>
            <a:ext cx="1798320" cy="1040916"/>
          </a:xfrm>
          <a:prstGeom prst="bentConnector3">
            <a:avLst>
              <a:gd name="adj1" fmla="val -11582"/>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6FFF5B10-E9DE-46E0-8AB8-AD0C31662727}"/>
              </a:ext>
            </a:extLst>
          </p:cNvPr>
          <p:cNvCxnSpPr>
            <a:cxnSpLocks/>
          </p:cNvCxnSpPr>
          <p:nvPr/>
        </p:nvCxnSpPr>
        <p:spPr>
          <a:xfrm>
            <a:off x="4638040" y="3885234"/>
            <a:ext cx="1443534" cy="1274130"/>
          </a:xfrm>
          <a:prstGeom prst="bentConnector3">
            <a:avLst>
              <a:gd name="adj1" fmla="val -28125"/>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20952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the purpose and contents of the plan cache.</a:t>
            </a:r>
          </a:p>
          <a:p>
            <a:r>
              <a:rPr lang="en-US" dirty="0"/>
              <a:t>Query the plan cache using Dynamic Management Objects.</a:t>
            </a:r>
          </a:p>
          <a:p>
            <a:r>
              <a:rPr lang="en-US" dirty="0"/>
              <a:t>Discuss the pros and cons of plan reuse.</a:t>
            </a:r>
          </a:p>
          <a:p>
            <a:r>
              <a:rPr lang="en-US" dirty="0"/>
              <a:t>Explain why </a:t>
            </a:r>
            <a:r>
              <a:rPr lang="en-US" i="1" dirty="0"/>
              <a:t>ad hoc </a:t>
            </a:r>
            <a:r>
              <a:rPr lang="en-US" dirty="0"/>
              <a:t>SQL statements can be especially problematic.</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72249" y="186100"/>
            <a:ext cx="10972800" cy="474041"/>
          </a:xfrm>
        </p:spPr>
        <p:txBody>
          <a:bodyPr/>
          <a:lstStyle/>
          <a:p>
            <a:r>
              <a:rPr lang="en-US" sz="3200" dirty="0"/>
              <a:t>Using</a:t>
            </a:r>
            <a:r>
              <a:rPr lang="en-US" dirty="0"/>
              <a:t> </a:t>
            </a:r>
            <a:r>
              <a:rPr lang="en-US" sz="3200" dirty="0"/>
              <a:t>Query</a:t>
            </a:r>
            <a:r>
              <a:rPr lang="en-US" dirty="0"/>
              <a:t> </a:t>
            </a:r>
            <a:r>
              <a:rPr lang="en-US" sz="3200" dirty="0"/>
              <a:t>Store</a:t>
            </a:r>
            <a:r>
              <a:rPr lang="en-US" dirty="0"/>
              <a:t> </a:t>
            </a:r>
            <a:r>
              <a:rPr lang="en-US" sz="3200" dirty="0"/>
              <a:t>Catalog</a:t>
            </a:r>
            <a:r>
              <a:rPr lang="en-US" dirty="0"/>
              <a:t> </a:t>
            </a:r>
            <a:r>
              <a:rPr lang="en-US" sz="3200" dirty="0"/>
              <a:t>Views</a:t>
            </a:r>
          </a:p>
        </p:txBody>
      </p:sp>
      <p:sp>
        <p:nvSpPr>
          <p:cNvPr id="10" name="Text Placeholder 4">
            <a:extLst>
              <a:ext uri="{FF2B5EF4-FFF2-40B4-BE49-F238E27FC236}">
                <a16:creationId xmlns:a16="http://schemas.microsoft.com/office/drawing/2014/main" id="{AEF65078-6FBE-4295-BFE6-4805EB86DD2C}"/>
              </a:ext>
            </a:extLst>
          </p:cNvPr>
          <p:cNvSpPr txBox="1">
            <a:spLocks/>
          </p:cNvSpPr>
          <p:nvPr/>
        </p:nvSpPr>
        <p:spPr>
          <a:xfrm>
            <a:off x="1074934" y="992137"/>
            <a:ext cx="10504417"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solidFill>
                  <a:srgbClr val="000000"/>
                </a:solidFill>
                <a:effectLst/>
                <a:uLnTx/>
                <a:uFillTx/>
                <a:latin typeface="Segoe UI"/>
                <a:ea typeface="+mn-ea"/>
                <a:cs typeface="+mn-cs"/>
              </a:rPr>
              <a:t>Finding the TOP 10 most frequently executed SQL Server Queries in the Query Store.</a:t>
            </a:r>
          </a:p>
        </p:txBody>
      </p:sp>
      <p:sp>
        <p:nvSpPr>
          <p:cNvPr id="2" name="TextBox 1">
            <a:extLst>
              <a:ext uri="{FF2B5EF4-FFF2-40B4-BE49-F238E27FC236}">
                <a16:creationId xmlns:a16="http://schemas.microsoft.com/office/drawing/2014/main" id="{5B526369-8CA9-462E-8EBE-932F925EAF91}"/>
              </a:ext>
            </a:extLst>
          </p:cNvPr>
          <p:cNvSpPr txBox="1"/>
          <p:nvPr/>
        </p:nvSpPr>
        <p:spPr>
          <a:xfrm>
            <a:off x="2250851" y="2192295"/>
            <a:ext cx="7690298"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OP</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0 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sql_tex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query_tex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query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text_id</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text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plan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id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runtime_stats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lan_id</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lan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ount_execution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g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GROUP</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sql_tex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RDER</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SUM</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ount_executions</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24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62919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Troubleshooting Using the Query Stor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83694389"/>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88842757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08538"/>
            <a:ext cx="10880725" cy="461665"/>
          </a:xfrm>
        </p:spPr>
        <p:txBody>
          <a:bodyPr/>
          <a:lstStyle/>
          <a:p>
            <a:r>
              <a:rPr lang="en-US" dirty="0"/>
              <a:t>The Plan Cache</a:t>
            </a:r>
          </a:p>
        </p:txBody>
      </p:sp>
      <p:graphicFrame>
        <p:nvGraphicFramePr>
          <p:cNvPr id="12" name="Content Placeholder 11">
            <a:extLst>
              <a:ext uri="{FF2B5EF4-FFF2-40B4-BE49-F238E27FC236}">
                <a16:creationId xmlns:a16="http://schemas.microsoft.com/office/drawing/2014/main" id="{A7202010-A317-457F-B4F7-8BA153FC2640}"/>
              </a:ext>
            </a:extLst>
          </p:cNvPr>
          <p:cNvGraphicFramePr>
            <a:graphicFrameLocks noGrp="1"/>
          </p:cNvGraphicFramePr>
          <p:nvPr>
            <p:ph sz="quarter" idx="13"/>
            <p:extLst>
              <p:ext uri="{D42A27DB-BD31-4B8C-83A1-F6EECF244321}">
                <p14:modId xmlns:p14="http://schemas.microsoft.com/office/powerpoint/2010/main" val="2651463889"/>
              </p:ext>
            </p:extLst>
          </p:nvPr>
        </p:nvGraphicFramePr>
        <p:xfrm>
          <a:off x="655638" y="940238"/>
          <a:ext cx="10880726" cy="38740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3">
            <a:extLst>
              <a:ext uri="{FF2B5EF4-FFF2-40B4-BE49-F238E27FC236}">
                <a16:creationId xmlns:a16="http://schemas.microsoft.com/office/drawing/2014/main" id="{86487599-AFEE-4CF0-A00F-C605F5977B65}"/>
              </a:ext>
            </a:extLst>
          </p:cNvPr>
          <p:cNvGrpSpPr/>
          <p:nvPr/>
        </p:nvGrpSpPr>
        <p:grpSpPr>
          <a:xfrm>
            <a:off x="1436146" y="4974385"/>
            <a:ext cx="6194680" cy="1663430"/>
            <a:chOff x="1436146" y="4974385"/>
            <a:chExt cx="6194680" cy="1663430"/>
          </a:xfrm>
        </p:grpSpPr>
        <p:sp>
          <p:nvSpPr>
            <p:cNvPr id="7" name="Rectangle: Rounded Corners 6">
              <a:extLst>
                <a:ext uri="{FF2B5EF4-FFF2-40B4-BE49-F238E27FC236}">
                  <a16:creationId xmlns:a16="http://schemas.microsoft.com/office/drawing/2014/main" id="{AE398C95-BFB1-4B02-A6EC-7F8644204ABA}"/>
                </a:ext>
              </a:extLst>
            </p:cNvPr>
            <p:cNvSpPr/>
            <p:nvPr/>
          </p:nvSpPr>
          <p:spPr bwMode="auto">
            <a:xfrm>
              <a:off x="2982626" y="4974385"/>
              <a:ext cx="4648200" cy="16634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63D22EF-0FAC-4F52-A8E7-D87FFACBB6CA}"/>
                </a:ext>
              </a:extLst>
            </p:cNvPr>
            <p:cNvSpPr/>
            <p:nvPr/>
          </p:nvSpPr>
          <p:spPr bwMode="auto">
            <a:xfrm>
              <a:off x="3163104" y="5242670"/>
              <a:ext cx="762000" cy="747342"/>
            </a:xfrm>
            <a:prstGeom prst="roundRect">
              <a:avLst/>
            </a:prstGeom>
            <a:solidFill>
              <a:srgbClr val="107C10"/>
            </a:solidFill>
            <a:ln>
              <a:solidFill>
                <a:schemeClr val="accent3">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3C1D6757-30EC-4197-A1CE-255282DA03FB}"/>
                </a:ext>
              </a:extLst>
            </p:cNvPr>
            <p:cNvSpPr/>
            <p:nvPr/>
          </p:nvSpPr>
          <p:spPr bwMode="auto">
            <a:xfrm>
              <a:off x="4049440" y="5124538"/>
              <a:ext cx="3423209" cy="1395144"/>
            </a:xfrm>
            <a:prstGeom prst="roundRect">
              <a:avLst/>
            </a:prstGeom>
            <a:solidFill>
              <a:schemeClr val="accent3"/>
            </a:solidFill>
            <a:ln>
              <a:solidFill>
                <a:schemeClr val="accent4">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2042FE55-1A0C-467D-B410-9145965805E5}"/>
                </a:ext>
              </a:extLst>
            </p:cNvPr>
            <p:cNvSpPr/>
            <p:nvPr/>
          </p:nvSpPr>
          <p:spPr>
            <a:xfrm>
              <a:off x="1436146" y="5513716"/>
              <a:ext cx="1590164" cy="646331"/>
            </a:xfrm>
            <a:prstGeom prst="rect">
              <a:avLst/>
            </a:prstGeom>
          </p:spPr>
          <p:txBody>
            <a:bodyPr wrap="square">
              <a:spAutoFit/>
            </a:bodyPr>
            <a:lstStyle/>
            <a:p>
              <a:pPr algn="ctr" defTabSz="932472" fontAlgn="base">
                <a:spcBef>
                  <a:spcPct val="0"/>
                </a:spcBef>
                <a:spcAft>
                  <a:spcPct val="0"/>
                </a:spcAft>
              </a:pPr>
              <a:r>
                <a:rPr lang="en-US" dirty="0">
                  <a:ea typeface="Segoe UI" pitchFamily="34" charset="0"/>
                  <a:cs typeface="Segoe UI" pitchFamily="34" charset="0"/>
                </a:rPr>
                <a:t>SQL Server’s Memory</a:t>
              </a:r>
            </a:p>
          </p:txBody>
        </p:sp>
        <p:sp>
          <p:nvSpPr>
            <p:cNvPr id="9" name="Rectangle: Rounded Corners 8">
              <a:extLst>
                <a:ext uri="{FF2B5EF4-FFF2-40B4-BE49-F238E27FC236}">
                  <a16:creationId xmlns:a16="http://schemas.microsoft.com/office/drawing/2014/main" id="{2CD26E3D-A698-4CFD-AD33-CC543F940D66}"/>
                </a:ext>
              </a:extLst>
            </p:cNvPr>
            <p:cNvSpPr/>
            <p:nvPr/>
          </p:nvSpPr>
          <p:spPr bwMode="auto">
            <a:xfrm>
              <a:off x="3165911" y="6160047"/>
              <a:ext cx="744558" cy="343230"/>
            </a:xfrm>
            <a:prstGeom prst="roundRect">
              <a:avLst/>
            </a:prstGeom>
            <a:solidFill>
              <a:schemeClr val="accent6"/>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DE6FC4A7-7256-45DE-AF60-F9910431DE9B}"/>
                </a:ext>
              </a:extLst>
            </p:cNvPr>
            <p:cNvSpPr txBox="1"/>
            <p:nvPr/>
          </p:nvSpPr>
          <p:spPr>
            <a:xfrm>
              <a:off x="5192426" y="5600861"/>
              <a:ext cx="1981200" cy="307777"/>
            </a:xfrm>
            <a:prstGeom prst="rect">
              <a:avLst/>
            </a:prstGeom>
            <a:noFill/>
          </p:spPr>
          <p:txBody>
            <a:bodyPr wrap="square" lIns="0" tIns="0" rIns="0" bIns="0" rtlCol="0">
              <a:spAutoFit/>
            </a:bodyPr>
            <a:lstStyle/>
            <a:p>
              <a:pPr algn="l"/>
              <a:r>
                <a:rPr lang="en-US" sz="2000" dirty="0">
                  <a:solidFill>
                    <a:schemeClr val="bg1"/>
                  </a:solidFill>
                </a:rPr>
                <a:t>Buffer Pool</a:t>
              </a:r>
            </a:p>
          </p:txBody>
        </p:sp>
        <p:sp>
          <p:nvSpPr>
            <p:cNvPr id="11" name="TextBox 10">
              <a:extLst>
                <a:ext uri="{FF2B5EF4-FFF2-40B4-BE49-F238E27FC236}">
                  <a16:creationId xmlns:a16="http://schemas.microsoft.com/office/drawing/2014/main" id="{4C1DBF06-3742-493B-AC19-D75F0CE96B27}"/>
                </a:ext>
              </a:extLst>
            </p:cNvPr>
            <p:cNvSpPr txBox="1"/>
            <p:nvPr/>
          </p:nvSpPr>
          <p:spPr>
            <a:xfrm>
              <a:off x="3187288" y="5418493"/>
              <a:ext cx="723181" cy="369332"/>
            </a:xfrm>
            <a:prstGeom prst="rect">
              <a:avLst/>
            </a:prstGeom>
            <a:solidFill>
              <a:srgbClr val="107C10"/>
            </a:solidFill>
          </p:spPr>
          <p:txBody>
            <a:bodyPr wrap="square" lIns="0" tIns="0" rIns="0" bIns="0" rtlCol="0">
              <a:spAutoFit/>
            </a:bodyPr>
            <a:lstStyle/>
            <a:p>
              <a:pPr algn="ctr"/>
              <a:r>
                <a:rPr lang="en-US" sz="1200" dirty="0">
                  <a:solidFill>
                    <a:schemeClr val="bg1"/>
                  </a:solidFill>
                </a:rPr>
                <a:t>Plan </a:t>
              </a:r>
            </a:p>
            <a:p>
              <a:pPr algn="ctr"/>
              <a:r>
                <a:rPr lang="en-US" sz="1200" dirty="0">
                  <a:solidFill>
                    <a:schemeClr val="bg1"/>
                  </a:solidFill>
                </a:rPr>
                <a:t>Cache</a:t>
              </a:r>
            </a:p>
          </p:txBody>
        </p:sp>
        <p:sp>
          <p:nvSpPr>
            <p:cNvPr id="13" name="TextBox 12">
              <a:extLst>
                <a:ext uri="{FF2B5EF4-FFF2-40B4-BE49-F238E27FC236}">
                  <a16:creationId xmlns:a16="http://schemas.microsoft.com/office/drawing/2014/main" id="{299B3597-7322-4B4C-89BD-1B1865818001}"/>
                </a:ext>
              </a:extLst>
            </p:cNvPr>
            <p:cNvSpPr txBox="1"/>
            <p:nvPr/>
          </p:nvSpPr>
          <p:spPr>
            <a:xfrm>
              <a:off x="3224057" y="6226278"/>
              <a:ext cx="540075" cy="184666"/>
            </a:xfrm>
            <a:prstGeom prst="rect">
              <a:avLst/>
            </a:prstGeom>
            <a:solidFill>
              <a:schemeClr val="accent6"/>
            </a:solidFill>
          </p:spPr>
          <p:txBody>
            <a:bodyPr wrap="square" lIns="0" tIns="0" rIns="0" bIns="0" rtlCol="0">
              <a:spAutoFit/>
            </a:bodyPr>
            <a:lstStyle/>
            <a:p>
              <a:pPr algn="ctr"/>
              <a:r>
                <a:rPr lang="en-US" sz="1200" dirty="0">
                  <a:solidFill>
                    <a:schemeClr val="bg1"/>
                  </a:solidFill>
                </a:rPr>
                <a:t>Other</a:t>
              </a:r>
            </a:p>
          </p:txBody>
        </p:sp>
      </p:grpSp>
      <p:sp>
        <p:nvSpPr>
          <p:cNvPr id="15" name="Rectangle 14">
            <a:extLst>
              <a:ext uri="{FF2B5EF4-FFF2-40B4-BE49-F238E27FC236}">
                <a16:creationId xmlns:a16="http://schemas.microsoft.com/office/drawing/2014/main" id="{0CE6064C-8A6A-43FA-BC46-EBA10AA599F9}"/>
              </a:ext>
            </a:extLst>
          </p:cNvPr>
          <p:cNvSpPr/>
          <p:nvPr/>
        </p:nvSpPr>
        <p:spPr bwMode="auto">
          <a:xfrm>
            <a:off x="7943025" y="5144305"/>
            <a:ext cx="2468562" cy="1395143"/>
          </a:xfrm>
          <a:prstGeom prst="rect">
            <a:avLst/>
          </a:prstGeom>
          <a:solidFill>
            <a:srgbClr val="D1DB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dirty="0">
                <a:solidFill>
                  <a:srgbClr val="000000">
                    <a:hueOff val="0"/>
                    <a:satOff val="0"/>
                    <a:lumOff val="0"/>
                    <a:alphaOff val="0"/>
                  </a:srgbClr>
                </a:solidFill>
                <a:latin typeface="Segoe UI"/>
              </a:rPr>
              <a:t>With a fixed amount of memory, when the plan cache grows the buffer pool shrinks and vice-versa</a:t>
            </a:r>
          </a:p>
        </p:txBody>
      </p:sp>
    </p:spTree>
    <p:extLst>
      <p:ext uri="{BB962C8B-B14F-4D97-AF65-F5344CB8AC3E}">
        <p14:creationId xmlns:p14="http://schemas.microsoft.com/office/powerpoint/2010/main" val="34566301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lan Cache Contents</a:t>
            </a:r>
          </a:p>
        </p:txBody>
      </p:sp>
      <p:graphicFrame>
        <p:nvGraphicFramePr>
          <p:cNvPr id="5" name="Content Placeholder 4">
            <a:extLst>
              <a:ext uri="{FF2B5EF4-FFF2-40B4-BE49-F238E27FC236}">
                <a16:creationId xmlns:a16="http://schemas.microsoft.com/office/drawing/2014/main" id="{DBCA296B-3874-45F7-AB56-F74E5DE12643}"/>
              </a:ext>
            </a:extLst>
          </p:cNvPr>
          <p:cNvGraphicFramePr>
            <a:graphicFrameLocks noGrp="1"/>
          </p:cNvGraphicFramePr>
          <p:nvPr>
            <p:ph sz="quarter" idx="13"/>
            <p:extLst>
              <p:ext uri="{D42A27DB-BD31-4B8C-83A1-F6EECF244321}">
                <p14:modId xmlns:p14="http://schemas.microsoft.com/office/powerpoint/2010/main" val="3040313024"/>
              </p:ext>
            </p:extLst>
          </p:nvPr>
        </p:nvGraphicFramePr>
        <p:xfrm>
          <a:off x="655637" y="904543"/>
          <a:ext cx="10880726" cy="54791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16663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8080" y="66336"/>
            <a:ext cx="11655840" cy="461665"/>
          </a:xfrm>
        </p:spPr>
        <p:txBody>
          <a:bodyPr/>
          <a:lstStyle/>
          <a:p>
            <a:r>
              <a:rPr lang="en-US" dirty="0"/>
              <a:t>Dynamic Management Views and Functions</a:t>
            </a:r>
          </a:p>
        </p:txBody>
      </p:sp>
      <p:graphicFrame>
        <p:nvGraphicFramePr>
          <p:cNvPr id="48" name="Table 3">
            <a:extLst>
              <a:ext uri="{FF2B5EF4-FFF2-40B4-BE49-F238E27FC236}">
                <a16:creationId xmlns:a16="http://schemas.microsoft.com/office/drawing/2014/main" id="{49DE2E63-2593-4483-ACE8-C24F9C63DD6A}"/>
              </a:ext>
            </a:extLst>
          </p:cNvPr>
          <p:cNvGraphicFramePr>
            <a:graphicFrameLocks/>
          </p:cNvGraphicFramePr>
          <p:nvPr/>
        </p:nvGraphicFramePr>
        <p:xfrm>
          <a:off x="1012608" y="1077542"/>
          <a:ext cx="10166784" cy="5310090"/>
        </p:xfrm>
        <a:graphic>
          <a:graphicData uri="http://schemas.openxmlformats.org/drawingml/2006/table">
            <a:tbl>
              <a:tblPr firstRow="1" bandRow="1">
                <a:effectLst/>
              </a:tblPr>
              <a:tblGrid>
                <a:gridCol w="3179403">
                  <a:extLst>
                    <a:ext uri="{9D8B030D-6E8A-4147-A177-3AD203B41FA5}">
                      <a16:colId xmlns:a16="http://schemas.microsoft.com/office/drawing/2014/main" val="20000"/>
                    </a:ext>
                  </a:extLst>
                </a:gridCol>
                <a:gridCol w="6987381">
                  <a:extLst>
                    <a:ext uri="{9D8B030D-6E8A-4147-A177-3AD203B41FA5}">
                      <a16:colId xmlns:a16="http://schemas.microsoft.com/office/drawing/2014/main" val="20001"/>
                    </a:ext>
                  </a:extLst>
                </a:gridCol>
              </a:tblGrid>
              <a:tr h="885015">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700" b="0" dirty="0">
                          <a:ln>
                            <a:solidFill>
                              <a:schemeClr val="bg1"/>
                            </a:solidFill>
                          </a:ln>
                          <a:latin typeface="Segoe UI Light" panose="020B0502040204020203" pitchFamily="34" charset="0"/>
                          <a:cs typeface="Segoe UI Light" panose="020B0502040204020203" pitchFamily="34" charset="0"/>
                        </a:rPr>
                        <a:t>Category</a:t>
                      </a:r>
                      <a:endParaRPr lang="en-AU" sz="27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mpd="sng">
                      <a:solidFill>
                        <a:srgbClr val="FFFFFF"/>
                      </a:solidFill>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700" b="0" dirty="0">
                          <a:ln>
                            <a:solidFill>
                              <a:schemeClr val="bg1"/>
                            </a:solidFill>
                          </a:ln>
                          <a:latin typeface="Segoe UI Light" panose="020B0502040204020203" pitchFamily="34" charset="0"/>
                          <a:cs typeface="Segoe UI Light" panose="020B0502040204020203" pitchFamily="34" charset="0"/>
                        </a:rPr>
                        <a:t>Description</a:t>
                      </a:r>
                      <a:endParaRPr lang="en-AU" sz="27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885015">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sys.dm_exec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Execution and connection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1"/>
                  </a:ext>
                </a:extLst>
              </a:tr>
              <a:tr h="885015">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latin typeface="Segoe UI Light" panose="020B0502040204020203" pitchFamily="34" charset="0"/>
                          <a:cs typeface="Segoe UI Light" panose="020B0502040204020203" pitchFamily="34" charset="0"/>
                        </a:rPr>
                        <a:t>sys.dm_os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Operating system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85015">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latin typeface="Segoe UI Light" panose="020B0502040204020203" pitchFamily="34" charset="0"/>
                          <a:cs typeface="Segoe UI Light" panose="020B0502040204020203" pitchFamily="34" charset="0"/>
                        </a:rPr>
                        <a:t>sys.dm_tran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Transaction management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3"/>
                  </a:ext>
                </a:extLst>
              </a:tr>
              <a:tr h="885015">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sys.dm_io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I/O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85015">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sys.dm_db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tint val="20000"/>
                      </a:srgbClr>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Database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42" marR="89642" marT="44821" marB="44821"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11806681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90302-7393-441A-806F-F4B48A6F0315}"/>
              </a:ext>
            </a:extLst>
          </p:cNvPr>
          <p:cNvSpPr>
            <a:spLocks noGrp="1"/>
          </p:cNvSpPr>
          <p:nvPr>
            <p:ph type="title"/>
          </p:nvPr>
        </p:nvSpPr>
        <p:spPr/>
        <p:txBody>
          <a:bodyPr/>
          <a:lstStyle/>
          <a:p>
            <a:r>
              <a:rPr lang="en-US" dirty="0"/>
              <a:t>Dynamic Management Objects</a:t>
            </a:r>
          </a:p>
        </p:txBody>
      </p:sp>
      <p:graphicFrame>
        <p:nvGraphicFramePr>
          <p:cNvPr id="5" name="Content Placeholder 4">
            <a:extLst>
              <a:ext uri="{FF2B5EF4-FFF2-40B4-BE49-F238E27FC236}">
                <a16:creationId xmlns:a16="http://schemas.microsoft.com/office/drawing/2014/main" id="{AEA6DA8A-3FA6-41CB-BD83-973312B2FA9E}"/>
              </a:ext>
            </a:extLst>
          </p:cNvPr>
          <p:cNvGraphicFramePr>
            <a:graphicFrameLocks noGrp="1"/>
          </p:cNvGraphicFramePr>
          <p:nvPr>
            <p:ph sz="quarter" idx="13"/>
            <p:extLst>
              <p:ext uri="{D42A27DB-BD31-4B8C-83A1-F6EECF244321}">
                <p14:modId xmlns:p14="http://schemas.microsoft.com/office/powerpoint/2010/main" val="2580206779"/>
              </p:ext>
            </p:extLst>
          </p:nvPr>
        </p:nvGraphicFramePr>
        <p:xfrm>
          <a:off x="655638" y="969484"/>
          <a:ext cx="10880725" cy="52582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3870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CD086AF5-CCD3-41C8-B98A-2B159789D38E}">
  <ds:schemaRefs>
    <ds:schemaRef ds:uri="Strauss.PersonalizationDefinition"/>
  </ds:schemaRefs>
</ds:datastoreItem>
</file>

<file path=customXml/itemProps2.xml><?xml version="1.0" encoding="utf-8"?>
<ds:datastoreItem xmlns:ds="http://schemas.openxmlformats.org/officeDocument/2006/customXml" ds:itemID="{9CFE9A22-C3CB-45B7-B365-FE59FD6BB66B}">
  <ds:schemaRefs>
    <ds:schemaRef ds:uri="Strauss.PersonalizationDefinition"/>
  </ds:schemaRefs>
</ds:datastoreItem>
</file>

<file path=customXml/itemProps3.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4.xml><?xml version="1.0" encoding="utf-8"?>
<ds:datastoreItem xmlns:ds="http://schemas.openxmlformats.org/officeDocument/2006/customXml" ds:itemID="{75C05EC8-D295-4080-807A-6EA8C339A657}">
  <ds:schemaRefs>
    <ds:schemaRef ds:uri="Strauss.PersonalizationDefinition"/>
  </ds:schemaRefs>
</ds:datastoreItem>
</file>

<file path=customXml/itemProps5.xml><?xml version="1.0" encoding="utf-8"?>
<ds:datastoreItem xmlns:ds="http://schemas.openxmlformats.org/officeDocument/2006/customXml" ds:itemID="{BD90A828-54F3-4D71-A608-75D2EF8005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EBCC33FC-94BB-4B1D-A4C6-D2E6A3A4B1FD}">
  <ds:schemaRefs>
    <ds:schemaRef ds:uri="Strauss.PersonalizationDefinition"/>
  </ds:schemaRefs>
</ds:datastoreItem>
</file>

<file path=customXml/itemProps7.xml><?xml version="1.0" encoding="utf-8"?>
<ds:datastoreItem xmlns:ds="http://schemas.openxmlformats.org/officeDocument/2006/customXml" ds:itemID="{7C42A160-080E-4178-8FDB-B5422D4D778A}">
  <ds:schemaRefs>
    <ds:schemaRef ds:uri="Strauss.PersonalizationDefinition"/>
  </ds:schemaRefs>
</ds:datastoreItem>
</file>

<file path=customXml/itemProps8.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9.xml><?xml version="1.0" encoding="utf-8"?>
<ds:datastoreItem xmlns:ds="http://schemas.openxmlformats.org/officeDocument/2006/customXml" ds:itemID="{9EEC7FED-AC7D-45C9-8F29-C2C8A7233C3D}">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Workshop</Template>
  <TotalTime>1891</TotalTime>
  <Words>6971</Words>
  <Application>Microsoft Office PowerPoint</Application>
  <PresentationFormat>Widescreen</PresentationFormat>
  <Paragraphs>603</Paragraphs>
  <Slides>54</Slides>
  <Notes>38</Notes>
  <HiddenSlides>1</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54</vt:i4>
      </vt:variant>
    </vt:vector>
  </HeadingPairs>
  <TitlesOfParts>
    <vt:vector size="66" baseType="lpstr">
      <vt:lpstr>&amp;quot</vt:lpstr>
      <vt:lpstr>Arial</vt:lpstr>
      <vt:lpstr>Calibri</vt:lpstr>
      <vt:lpstr>Calibri Light</vt:lpstr>
      <vt:lpstr>Comic Sans MS</vt:lpstr>
      <vt:lpstr>Consolas</vt:lpstr>
      <vt:lpstr>Segoe UI</vt:lpstr>
      <vt:lpstr>Segoe UI Light</vt:lpstr>
      <vt:lpstr>Segoe UI Semibold</vt:lpstr>
      <vt:lpstr>Wingdings</vt:lpstr>
      <vt:lpstr>Workshop</vt:lpstr>
      <vt:lpstr>1_Dark Blue</vt:lpstr>
      <vt:lpstr>SQL Server Plan Caching and Query Store</vt:lpstr>
      <vt:lpstr>PowerPoint Presentation</vt:lpstr>
      <vt:lpstr>Learning Units covered in this Module</vt:lpstr>
      <vt:lpstr>Lesson 1: SQL Server Plan Cache </vt:lpstr>
      <vt:lpstr>Objectives</vt:lpstr>
      <vt:lpstr>The Plan Cache</vt:lpstr>
      <vt:lpstr>Plan Cache Contents</vt:lpstr>
      <vt:lpstr>Dynamic Management Views and Functions</vt:lpstr>
      <vt:lpstr>Dynamic Management Objects</vt:lpstr>
      <vt:lpstr>Relationships between DMOs</vt:lpstr>
      <vt:lpstr>Captured Metrics (sys.dm_exec_query_stats ) </vt:lpstr>
      <vt:lpstr>Mining the Plan Cache with T-SQL</vt:lpstr>
      <vt:lpstr>Cache Plan Bloat </vt:lpstr>
      <vt:lpstr>Clearing the Plan Cache </vt:lpstr>
      <vt:lpstr>Clearing the Plan Cache </vt:lpstr>
      <vt:lpstr>Plan Reuse</vt:lpstr>
      <vt:lpstr>Plan Reuse</vt:lpstr>
      <vt:lpstr>Parameter Sniffing</vt:lpstr>
      <vt:lpstr>Demonstration</vt:lpstr>
      <vt:lpstr>Questions?</vt:lpstr>
      <vt:lpstr>Knowledge Check</vt:lpstr>
      <vt:lpstr>Lesson 2: SQL Server Query Store </vt:lpstr>
      <vt:lpstr>Introducing the Query Store</vt:lpstr>
      <vt:lpstr>Why use Query Store?</vt:lpstr>
      <vt:lpstr>Query Store Operation Modes</vt:lpstr>
      <vt:lpstr>Query Store Monitoring Settings</vt:lpstr>
      <vt:lpstr>Query Store Monitoring Settings</vt:lpstr>
      <vt:lpstr>Query Store Retention Settings</vt:lpstr>
      <vt:lpstr>Query Store Retention Settings</vt:lpstr>
      <vt:lpstr>Query Store Retention Settings</vt:lpstr>
      <vt:lpstr>Query Store Retention Settings</vt:lpstr>
      <vt:lpstr>Query Store Retention Settings</vt:lpstr>
      <vt:lpstr>Query Store Retention Settings</vt:lpstr>
      <vt:lpstr>Query Store Capture Policy Settings</vt:lpstr>
      <vt:lpstr>Query Store Capture Policy Settings</vt:lpstr>
      <vt:lpstr>Query Store Capture Policy Settings</vt:lpstr>
      <vt:lpstr>Query Store Capture Policy Settings</vt:lpstr>
      <vt:lpstr>Purge Query Data</vt:lpstr>
      <vt:lpstr>Query Store Reports</vt:lpstr>
      <vt:lpstr>Query Store Reports</vt:lpstr>
      <vt:lpstr>Query Store Reports</vt:lpstr>
      <vt:lpstr>Query Store Reports</vt:lpstr>
      <vt:lpstr>Query Store Reports</vt:lpstr>
      <vt:lpstr>Query Store Reports</vt:lpstr>
      <vt:lpstr>Query Store Reports</vt:lpstr>
      <vt:lpstr>Establishing a Baseline </vt:lpstr>
      <vt:lpstr>Force Plan</vt:lpstr>
      <vt:lpstr>Plan Compare </vt:lpstr>
      <vt:lpstr>Query Store Catalog Views</vt:lpstr>
      <vt:lpstr>Using Query Store Catalog Views</vt:lpstr>
      <vt:lpstr>Troubleshooting Using the Query Store</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13</cp:revision>
  <dcterms:created xsi:type="dcterms:W3CDTF">2019-08-12T16:24:54Z</dcterms:created>
  <dcterms:modified xsi:type="dcterms:W3CDTF">2023-01-21T17:5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